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23" r:id="rId4"/>
  </p:sldMasterIdLst>
  <p:notesMasterIdLst>
    <p:notesMasterId r:id="rId28"/>
  </p:notesMasterIdLst>
  <p:handoutMasterIdLst>
    <p:handoutMasterId r:id="rId29"/>
  </p:handoutMasterIdLst>
  <p:sldIdLst>
    <p:sldId id="279" r:id="rId5"/>
    <p:sldId id="272" r:id="rId6"/>
    <p:sldId id="258" r:id="rId7"/>
    <p:sldId id="259" r:id="rId8"/>
    <p:sldId id="277" r:id="rId9"/>
    <p:sldId id="282" r:id="rId10"/>
    <p:sldId id="280" r:id="rId11"/>
    <p:sldId id="274" r:id="rId12"/>
    <p:sldId id="287" r:id="rId13"/>
    <p:sldId id="283" r:id="rId14"/>
    <p:sldId id="284" r:id="rId15"/>
    <p:sldId id="281" r:id="rId16"/>
    <p:sldId id="285" r:id="rId17"/>
    <p:sldId id="289" r:id="rId18"/>
    <p:sldId id="268" r:id="rId19"/>
    <p:sldId id="290" r:id="rId20"/>
    <p:sldId id="291" r:id="rId21"/>
    <p:sldId id="292" r:id="rId22"/>
    <p:sldId id="293" r:id="rId23"/>
    <p:sldId id="294" r:id="rId24"/>
    <p:sldId id="296" r:id="rId25"/>
    <p:sldId id="298" r:id="rId26"/>
    <p:sldId id="297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F39A418-C943-DD85-ADF2-615A2809C342}" name="Michaele Watts" initials="mlw" userId="Michaele Watts" providerId="None"/>
  <p188:author id="{DC3CAF61-3D39-8A1C-6AB6-F5CBCFCBEA47}" name="Vanessa Buzgheia (ALLEGIS GROUP HOLDINGS INC)" initials="" userId="S::v-vabuzgheia@microsoft.com::f3934b54-4599-40d0-96a8-d6208686f730" providerId="AD"/>
  <p188:author id="{9941987A-41B7-49AC-EE6E-03F2D0BD95BA}" name="Daria Naidenov" initials="DN" userId="S::danaidenov@microsoft.com::ab38ab5f-bdf0-4774-ae5a-d2782abb2027" providerId="AD"/>
  <p188:author id="{05079B93-9652-6626-7181-414354FAD15D}" name="Sher Dionisio" initials="SD" userId="Sher Dionisio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884AF0-D2CA-8A6B-675B-ED991D24BE6C}" v="801" dt="2025-12-19T11:35:57.003"/>
    <p1510:client id="{DC3E2095-8C64-47AC-8EC2-42D0FC585BEB}" v="68" dt="2025-12-19T08:28:09.503"/>
  </p1510:revLst>
</p1510:revInfo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87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an Sofoyan" userId="fb21c576432eb2f6" providerId="LiveId" clId="{E40589C7-025B-45AD-89B6-748A3CDC1555}"/>
    <pc:docChg chg="undo custSel addSld delSld modSld sldOrd">
      <pc:chgData name="Stepan Sofoyan" userId="fb21c576432eb2f6" providerId="LiveId" clId="{E40589C7-025B-45AD-89B6-748A3CDC1555}" dt="2025-12-15T00:16:54.900" v="3963" actId="33524"/>
      <pc:docMkLst>
        <pc:docMk/>
      </pc:docMkLst>
      <pc:sldChg chg="addSp delSp modSp mod">
        <pc:chgData name="Stepan Sofoyan" userId="fb21c576432eb2f6" providerId="LiveId" clId="{E40589C7-025B-45AD-89B6-748A3CDC1555}" dt="2025-12-14T21:50:40.351" v="1001"/>
        <pc:sldMkLst>
          <pc:docMk/>
          <pc:sldMk cId="3164153052" sldId="258"/>
        </pc:sldMkLst>
        <pc:picChg chg="add mod">
          <ac:chgData name="Stepan Sofoyan" userId="fb21c576432eb2f6" providerId="LiveId" clId="{E40589C7-025B-45AD-89B6-748A3CDC1555}" dt="2025-12-14T21:50:40.351" v="1001"/>
          <ac:picMkLst>
            <pc:docMk/>
            <pc:sldMk cId="3164153052" sldId="258"/>
            <ac:picMk id="4" creationId="{9DAAF36B-5DC0-2BFF-A8D9-7F957155F0DA}"/>
          </ac:picMkLst>
        </pc:picChg>
      </pc:sldChg>
      <pc:sldChg chg="addSp delSp modSp mod ord">
        <pc:chgData name="Stepan Sofoyan" userId="fb21c576432eb2f6" providerId="LiveId" clId="{E40589C7-025B-45AD-89B6-748A3CDC1555}" dt="2025-12-15T00:16:54.900" v="3963" actId="33524"/>
        <pc:sldMkLst>
          <pc:docMk/>
          <pc:sldMk cId="1388501769" sldId="259"/>
        </pc:sldMkLst>
        <pc:spChg chg="mod">
          <ac:chgData name="Stepan Sofoyan" userId="fb21c576432eb2f6" providerId="LiveId" clId="{E40589C7-025B-45AD-89B6-748A3CDC1555}" dt="2025-12-14T22:56:04.981" v="1510" actId="299"/>
          <ac:spMkLst>
            <pc:docMk/>
            <pc:sldMk cId="1388501769" sldId="259"/>
            <ac:spMk id="2" creationId="{B2A616CB-D5F6-6FB0-E5C0-28F2323202D2}"/>
          </ac:spMkLst>
        </pc:spChg>
        <pc:spChg chg="mod">
          <ac:chgData name="Stepan Sofoyan" userId="fb21c576432eb2f6" providerId="LiveId" clId="{E40589C7-025B-45AD-89B6-748A3CDC1555}" dt="2025-12-15T00:16:54.900" v="3963" actId="33524"/>
          <ac:spMkLst>
            <pc:docMk/>
            <pc:sldMk cId="1388501769" sldId="259"/>
            <ac:spMk id="13" creationId="{8758B31D-2E06-0E03-5031-E39D35694595}"/>
          </ac:spMkLst>
        </pc:spChg>
        <pc:picChg chg="add mod">
          <ac:chgData name="Stepan Sofoyan" userId="fb21c576432eb2f6" providerId="LiveId" clId="{E40589C7-025B-45AD-89B6-748A3CDC1555}" dt="2025-12-14T21:38:50.593" v="697" actId="1076"/>
          <ac:picMkLst>
            <pc:docMk/>
            <pc:sldMk cId="1388501769" sldId="259"/>
            <ac:picMk id="1028" creationId="{9C36444E-E4ED-9795-4E1D-35E17DB4E6A1}"/>
          </ac:picMkLst>
        </pc:picChg>
      </pc:sldChg>
      <pc:sldChg chg="addSp modSp mod ord">
        <pc:chgData name="Stepan Sofoyan" userId="fb21c576432eb2f6" providerId="LiveId" clId="{E40589C7-025B-45AD-89B6-748A3CDC1555}" dt="2025-12-14T23:46:24.602" v="2811"/>
        <pc:sldMkLst>
          <pc:docMk/>
          <pc:sldMk cId="1570728643" sldId="268"/>
        </pc:sldMkLst>
        <pc:spChg chg="mod">
          <ac:chgData name="Stepan Sofoyan" userId="fb21c576432eb2f6" providerId="LiveId" clId="{E40589C7-025B-45AD-89B6-748A3CDC1555}" dt="2025-12-14T23:46:10.889" v="2808" actId="1076"/>
          <ac:spMkLst>
            <pc:docMk/>
            <pc:sldMk cId="1570728643" sldId="268"/>
            <ac:spMk id="3" creationId="{83774446-E556-2AC1-4EB5-1A8AC0DE1321}"/>
          </ac:spMkLst>
        </pc:spChg>
        <pc:picChg chg="add mod">
          <ac:chgData name="Stepan Sofoyan" userId="fb21c576432eb2f6" providerId="LiveId" clId="{E40589C7-025B-45AD-89B6-748A3CDC1555}" dt="2025-12-14T23:46:17.513" v="2809" actId="1076"/>
          <ac:picMkLst>
            <pc:docMk/>
            <pc:sldMk cId="1570728643" sldId="268"/>
            <ac:picMk id="5" creationId="{C062437E-1706-158C-CB07-F436AA82BDBD}"/>
          </ac:picMkLst>
        </pc:picChg>
      </pc:sldChg>
      <pc:sldChg chg="addSp delSp modSp mod ord modNotesTx">
        <pc:chgData name="Stepan Sofoyan" userId="fb21c576432eb2f6" providerId="LiveId" clId="{E40589C7-025B-45AD-89B6-748A3CDC1555}" dt="2025-12-14T23:06:23.654" v="1805" actId="20577"/>
        <pc:sldMkLst>
          <pc:docMk/>
          <pc:sldMk cId="2838662691" sldId="274"/>
        </pc:sldMkLst>
        <pc:spChg chg="add mod">
          <ac:chgData name="Stepan Sofoyan" userId="fb21c576432eb2f6" providerId="LiveId" clId="{E40589C7-025B-45AD-89B6-748A3CDC1555}" dt="2025-12-14T22:05:59.642" v="1120"/>
          <ac:spMkLst>
            <pc:docMk/>
            <pc:sldMk cId="2838662691" sldId="274"/>
            <ac:spMk id="16" creationId="{9585A073-D6A6-F3A2-F1F3-B1D11EF086FE}"/>
          </ac:spMkLst>
        </pc:spChg>
        <pc:spChg chg="add mod">
          <ac:chgData name="Stepan Sofoyan" userId="fb21c576432eb2f6" providerId="LiveId" clId="{E40589C7-025B-45AD-89B6-748A3CDC1555}" dt="2025-12-14T22:06:17.833" v="1121" actId="1076"/>
          <ac:spMkLst>
            <pc:docMk/>
            <pc:sldMk cId="2838662691" sldId="274"/>
            <ac:spMk id="26" creationId="{2D48A104-F016-A8BF-EFB1-D7AC457BFF8A}"/>
          </ac:spMkLst>
        </pc:spChg>
        <pc:spChg chg="add mod">
          <ac:chgData name="Stepan Sofoyan" userId="fb21c576432eb2f6" providerId="LiveId" clId="{E40589C7-025B-45AD-89B6-748A3CDC1555}" dt="2025-12-14T22:06:17.833" v="1121" actId="1076"/>
          <ac:spMkLst>
            <pc:docMk/>
            <pc:sldMk cId="2838662691" sldId="274"/>
            <ac:spMk id="27" creationId="{EF584310-B3D0-A170-8749-E2071D3D6FA8}"/>
          </ac:spMkLst>
        </pc:spChg>
        <pc:spChg chg="add mod">
          <ac:chgData name="Stepan Sofoyan" userId="fb21c576432eb2f6" providerId="LiveId" clId="{E40589C7-025B-45AD-89B6-748A3CDC1555}" dt="2025-12-14T22:06:17.833" v="1121" actId="1076"/>
          <ac:spMkLst>
            <pc:docMk/>
            <pc:sldMk cId="2838662691" sldId="274"/>
            <ac:spMk id="29" creationId="{43F8F1AE-3741-BED7-9012-78089C011312}"/>
          </ac:spMkLst>
        </pc:spChg>
        <pc:spChg chg="add mod">
          <ac:chgData name="Stepan Sofoyan" userId="fb21c576432eb2f6" providerId="LiveId" clId="{E40589C7-025B-45AD-89B6-748A3CDC1555}" dt="2025-12-14T22:06:17.833" v="1121" actId="1076"/>
          <ac:spMkLst>
            <pc:docMk/>
            <pc:sldMk cId="2838662691" sldId="274"/>
            <ac:spMk id="30" creationId="{9A7E8ED8-F76C-DC69-92F9-82FBAFEB7B4B}"/>
          </ac:spMkLst>
        </pc:spChg>
        <pc:spChg chg="add mod">
          <ac:chgData name="Stepan Sofoyan" userId="fb21c576432eb2f6" providerId="LiveId" clId="{E40589C7-025B-45AD-89B6-748A3CDC1555}" dt="2025-12-14T22:06:17.833" v="1121" actId="1076"/>
          <ac:spMkLst>
            <pc:docMk/>
            <pc:sldMk cId="2838662691" sldId="274"/>
            <ac:spMk id="32" creationId="{AB82FB7B-B1F2-6B9A-2CDE-B14BB10828C7}"/>
          </ac:spMkLst>
        </pc:spChg>
        <pc:spChg chg="add mod">
          <ac:chgData name="Stepan Sofoyan" userId="fb21c576432eb2f6" providerId="LiveId" clId="{E40589C7-025B-45AD-89B6-748A3CDC1555}" dt="2025-12-14T22:06:17.833" v="1121" actId="1076"/>
          <ac:spMkLst>
            <pc:docMk/>
            <pc:sldMk cId="2838662691" sldId="274"/>
            <ac:spMk id="33" creationId="{6E2F4414-B0D3-C06B-21AD-CF1209451E94}"/>
          </ac:spMkLst>
        </pc:spChg>
        <pc:spChg chg="add mod">
          <ac:chgData name="Stepan Sofoyan" userId="fb21c576432eb2f6" providerId="LiveId" clId="{E40589C7-025B-45AD-89B6-748A3CDC1555}" dt="2025-12-14T22:46:20.520" v="1335" actId="1076"/>
          <ac:spMkLst>
            <pc:docMk/>
            <pc:sldMk cId="2838662691" sldId="274"/>
            <ac:spMk id="41" creationId="{9EAD9E5D-51ED-10B3-88B4-D8DE969C5149}"/>
          </ac:spMkLst>
        </pc:spChg>
        <pc:picChg chg="add mod">
          <ac:chgData name="Stepan Sofoyan" userId="fb21c576432eb2f6" providerId="LiveId" clId="{E40589C7-025B-45AD-89B6-748A3CDC1555}" dt="2025-12-14T22:06:17.833" v="1121" actId="1076"/>
          <ac:picMkLst>
            <pc:docMk/>
            <pc:sldMk cId="2838662691" sldId="274"/>
            <ac:picMk id="28" creationId="{8EE53769-58B0-6284-E87D-0E95EE5572A7}"/>
          </ac:picMkLst>
        </pc:picChg>
        <pc:picChg chg="add mod">
          <ac:chgData name="Stepan Sofoyan" userId="fb21c576432eb2f6" providerId="LiveId" clId="{E40589C7-025B-45AD-89B6-748A3CDC1555}" dt="2025-12-14T22:06:17.833" v="1121" actId="1076"/>
          <ac:picMkLst>
            <pc:docMk/>
            <pc:sldMk cId="2838662691" sldId="274"/>
            <ac:picMk id="31" creationId="{33064F66-1151-6D53-F4D2-0B4F0CC8F775}"/>
          </ac:picMkLst>
        </pc:picChg>
        <pc:picChg chg="mod">
          <ac:chgData name="Stepan Sofoyan" userId="fb21c576432eb2f6" providerId="LiveId" clId="{E40589C7-025B-45AD-89B6-748A3CDC1555}" dt="2025-12-14T22:06:17.833" v="1121" actId="1076"/>
          <ac:picMkLst>
            <pc:docMk/>
            <pc:sldMk cId="2838662691" sldId="274"/>
            <ac:picMk id="34" creationId="{DA5E486D-646F-8829-2ACE-19B5BEE8D751}"/>
          </ac:picMkLst>
        </pc:picChg>
        <pc:picChg chg="mod">
          <ac:chgData name="Stepan Sofoyan" userId="fb21c576432eb2f6" providerId="LiveId" clId="{E40589C7-025B-45AD-89B6-748A3CDC1555}" dt="2025-12-14T22:07:15.546" v="1128" actId="1076"/>
          <ac:picMkLst>
            <pc:docMk/>
            <pc:sldMk cId="2838662691" sldId="274"/>
            <ac:picMk id="35" creationId="{810A8582-B418-5E25-D3CB-872C3ECD97DB}"/>
          </ac:picMkLst>
        </pc:picChg>
        <pc:picChg chg="add mod">
          <ac:chgData name="Stepan Sofoyan" userId="fb21c576432eb2f6" providerId="LiveId" clId="{E40589C7-025B-45AD-89B6-748A3CDC1555}" dt="2025-12-14T22:09:11.151" v="1130" actId="14100"/>
          <ac:picMkLst>
            <pc:docMk/>
            <pc:sldMk cId="2838662691" sldId="274"/>
            <ac:picMk id="36" creationId="{DF18EFCA-CC3B-FA23-B4D7-1878CCC1493F}"/>
          </ac:picMkLst>
        </pc:picChg>
        <pc:picChg chg="mod">
          <ac:chgData name="Stepan Sofoyan" userId="fb21c576432eb2f6" providerId="LiveId" clId="{E40589C7-025B-45AD-89B6-748A3CDC1555}" dt="2025-12-14T22:07:08.975" v="1127" actId="1076"/>
          <ac:picMkLst>
            <pc:docMk/>
            <pc:sldMk cId="2838662691" sldId="274"/>
            <ac:picMk id="37" creationId="{F30BCF31-7A30-21BF-DE26-3C46F99D77E5}"/>
          </ac:picMkLst>
        </pc:picChg>
        <pc:cxnChg chg="mod">
          <ac:chgData name="Stepan Sofoyan" userId="fb21c576432eb2f6" providerId="LiveId" clId="{E40589C7-025B-45AD-89B6-748A3CDC1555}" dt="2025-12-14T22:06:17.833" v="1121" actId="1076"/>
          <ac:cxnSpMkLst>
            <pc:docMk/>
            <pc:sldMk cId="2838662691" sldId="274"/>
            <ac:cxnSpMk id="20" creationId="{013D6B60-6F1C-DF8A-8F48-7FCF940DB3D8}"/>
          </ac:cxnSpMkLst>
        </pc:cxnChg>
      </pc:sldChg>
      <pc:sldChg chg="addSp delSp modSp mod ord">
        <pc:chgData name="Stepan Sofoyan" userId="fb21c576432eb2f6" providerId="LiveId" clId="{E40589C7-025B-45AD-89B6-748A3CDC1555}" dt="2025-12-14T21:44:28.924" v="870" actId="20577"/>
        <pc:sldMkLst>
          <pc:docMk/>
          <pc:sldMk cId="3175230661" sldId="277"/>
        </pc:sldMkLst>
        <pc:spChg chg="mod">
          <ac:chgData name="Stepan Sofoyan" userId="fb21c576432eb2f6" providerId="LiveId" clId="{E40589C7-025B-45AD-89B6-748A3CDC1555}" dt="2025-12-14T21:42:24.774" v="752" actId="299"/>
          <ac:spMkLst>
            <pc:docMk/>
            <pc:sldMk cId="3175230661" sldId="277"/>
            <ac:spMk id="2" creationId="{BB7FB24F-4151-645C-8D71-A85984E9B526}"/>
          </ac:spMkLst>
        </pc:spChg>
        <pc:spChg chg="mod">
          <ac:chgData name="Stepan Sofoyan" userId="fb21c576432eb2f6" providerId="LiveId" clId="{E40589C7-025B-45AD-89B6-748A3CDC1555}" dt="2025-12-14T21:44:28.924" v="870" actId="20577"/>
          <ac:spMkLst>
            <pc:docMk/>
            <pc:sldMk cId="3175230661" sldId="277"/>
            <ac:spMk id="4" creationId="{A392F16C-1029-AD0E-E5F8-D4A35E431AFD}"/>
          </ac:spMkLst>
        </pc:spChg>
        <pc:spChg chg="add mod">
          <ac:chgData name="Stepan Sofoyan" userId="fb21c576432eb2f6" providerId="LiveId" clId="{E40589C7-025B-45AD-89B6-748A3CDC1555}" dt="2025-12-14T21:43:20.069" v="762" actId="1076"/>
          <ac:spMkLst>
            <pc:docMk/>
            <pc:sldMk cId="3175230661" sldId="277"/>
            <ac:spMk id="11" creationId="{71175275-FDD9-18CF-1601-F1442DF9876B}"/>
          </ac:spMkLst>
        </pc:spChg>
        <pc:graphicFrameChg chg="add mod">
          <ac:chgData name="Stepan Sofoyan" userId="fb21c576432eb2f6" providerId="LiveId" clId="{E40589C7-025B-45AD-89B6-748A3CDC1555}" dt="2025-12-14T21:43:20.069" v="762" actId="1076"/>
          <ac:graphicFrameMkLst>
            <pc:docMk/>
            <pc:sldMk cId="3175230661" sldId="277"/>
            <ac:graphicFrameMk id="10" creationId="{EC155267-DA83-85A0-A972-85AB89F8C43E}"/>
          </ac:graphicFrameMkLst>
        </pc:graphicFrameChg>
      </pc:sldChg>
      <pc:sldChg chg="addSp delSp modSp mod">
        <pc:chgData name="Stepan Sofoyan" userId="fb21c576432eb2f6" providerId="LiveId" clId="{E40589C7-025B-45AD-89B6-748A3CDC1555}" dt="2025-12-14T21:50:48.347" v="1005"/>
        <pc:sldMkLst>
          <pc:docMk/>
          <pc:sldMk cId="2449267587" sldId="280"/>
        </pc:sldMkLst>
        <pc:picChg chg="add mod">
          <ac:chgData name="Stepan Sofoyan" userId="fb21c576432eb2f6" providerId="LiveId" clId="{E40589C7-025B-45AD-89B6-748A3CDC1555}" dt="2025-12-14T21:50:48.347" v="1005"/>
          <ac:picMkLst>
            <pc:docMk/>
            <pc:sldMk cId="2449267587" sldId="280"/>
            <ac:picMk id="4" creationId="{F4F3078E-8CDB-EE47-D7A9-0AB6A843FFBB}"/>
          </ac:picMkLst>
        </pc:picChg>
      </pc:sldChg>
      <pc:sldChg chg="addSp delSp modSp mod">
        <pc:chgData name="Stepan Sofoyan" userId="fb21c576432eb2f6" providerId="LiveId" clId="{E40589C7-025B-45AD-89B6-748A3CDC1555}" dt="2025-12-14T21:50:44.265" v="1003"/>
        <pc:sldMkLst>
          <pc:docMk/>
          <pc:sldMk cId="1769436117" sldId="281"/>
        </pc:sldMkLst>
        <pc:picChg chg="add mod">
          <ac:chgData name="Stepan Sofoyan" userId="fb21c576432eb2f6" providerId="LiveId" clId="{E40589C7-025B-45AD-89B6-748A3CDC1555}" dt="2025-12-14T21:50:44.265" v="1003"/>
          <ac:picMkLst>
            <pc:docMk/>
            <pc:sldMk cId="1769436117" sldId="281"/>
            <ac:picMk id="4" creationId="{A1C8B3AC-7F32-B1A9-E49C-6BB2A1AA86C5}"/>
          </ac:picMkLst>
        </pc:picChg>
      </pc:sldChg>
      <pc:sldChg chg="addSp delSp modSp new mod ord">
        <pc:chgData name="Stepan Sofoyan" userId="fb21c576432eb2f6" providerId="LiveId" clId="{E40589C7-025B-45AD-89B6-748A3CDC1555}" dt="2025-12-14T23:34:44.086" v="2748" actId="1076"/>
        <pc:sldMkLst>
          <pc:docMk/>
          <pc:sldMk cId="530692560" sldId="282"/>
        </pc:sldMkLst>
        <pc:spChg chg="mod">
          <ac:chgData name="Stepan Sofoyan" userId="fb21c576432eb2f6" providerId="LiveId" clId="{E40589C7-025B-45AD-89B6-748A3CDC1555}" dt="2025-12-14T21:46:31.075" v="978" actId="299"/>
          <ac:spMkLst>
            <pc:docMk/>
            <pc:sldMk cId="530692560" sldId="282"/>
            <ac:spMk id="2" creationId="{D9003888-2E01-139F-AF0B-C11CC9DC191D}"/>
          </ac:spMkLst>
        </pc:spChg>
        <pc:graphicFrameChg chg="add mod ord modVis">
          <ac:chgData name="Stepan Sofoyan" userId="fb21c576432eb2f6" providerId="LiveId" clId="{E40589C7-025B-45AD-89B6-748A3CDC1555}" dt="2025-12-14T21:46:14.460" v="894"/>
          <ac:graphicFrameMkLst>
            <pc:docMk/>
            <pc:sldMk cId="530692560" sldId="282"/>
            <ac:graphicFrameMk id="4" creationId="{C4DD67B9-E14C-6D1C-D9A2-FB9BF77DE64D}"/>
          </ac:graphicFrameMkLst>
        </pc:graphicFrameChg>
        <pc:picChg chg="add mod">
          <ac:chgData name="Stepan Sofoyan" userId="fb21c576432eb2f6" providerId="LiveId" clId="{E40589C7-025B-45AD-89B6-748A3CDC1555}" dt="2025-12-14T23:34:44.086" v="2748" actId="1076"/>
          <ac:picMkLst>
            <pc:docMk/>
            <pc:sldMk cId="530692560" sldId="282"/>
            <ac:picMk id="10" creationId="{ECAFF021-C4F1-EE37-0C94-98075A4F5E3D}"/>
          </ac:picMkLst>
        </pc:picChg>
      </pc:sldChg>
      <pc:sldChg chg="addSp modSp new mod">
        <pc:chgData name="Stepan Sofoyan" userId="fb21c576432eb2f6" providerId="LiveId" clId="{E40589C7-025B-45AD-89B6-748A3CDC1555}" dt="2025-12-15T00:10:24.745" v="3962" actId="299"/>
        <pc:sldMkLst>
          <pc:docMk/>
          <pc:sldMk cId="2783128125" sldId="283"/>
        </pc:sldMkLst>
        <pc:spChg chg="mod">
          <ac:chgData name="Stepan Sofoyan" userId="fb21c576432eb2f6" providerId="LiveId" clId="{E40589C7-025B-45AD-89B6-748A3CDC1555}" dt="2025-12-15T00:10:24.745" v="3962" actId="299"/>
          <ac:spMkLst>
            <pc:docMk/>
            <pc:sldMk cId="2783128125" sldId="283"/>
            <ac:spMk id="2" creationId="{A745ED99-ABBC-C00B-1626-47619DCB793C}"/>
          </ac:spMkLst>
        </pc:spChg>
        <pc:graphicFrameChg chg="add mod ord modVis">
          <ac:chgData name="Stepan Sofoyan" userId="fb21c576432eb2f6" providerId="LiveId" clId="{E40589C7-025B-45AD-89B6-748A3CDC1555}" dt="2025-12-14T22:47:48.445" v="1359"/>
          <ac:graphicFrameMkLst>
            <pc:docMk/>
            <pc:sldMk cId="2783128125" sldId="283"/>
            <ac:graphicFrameMk id="5" creationId="{41BB10F3-0345-D710-EBA0-BE714ED79F17}"/>
          </ac:graphicFrameMkLst>
        </pc:graphicFrameChg>
      </pc:sldChg>
      <pc:sldChg chg="addSp delSp modSp new mod">
        <pc:chgData name="Stepan Sofoyan" userId="fb21c576432eb2f6" providerId="LiveId" clId="{E40589C7-025B-45AD-89B6-748A3CDC1555}" dt="2025-12-14T23:52:02.759" v="3505" actId="299"/>
        <pc:sldMkLst>
          <pc:docMk/>
          <pc:sldMk cId="832580512" sldId="284"/>
        </pc:sldMkLst>
        <pc:spChg chg="mod">
          <ac:chgData name="Stepan Sofoyan" userId="fb21c576432eb2f6" providerId="LiveId" clId="{E40589C7-025B-45AD-89B6-748A3CDC1555}" dt="2025-12-14T23:52:02.759" v="3505" actId="299"/>
          <ac:spMkLst>
            <pc:docMk/>
            <pc:sldMk cId="832580512" sldId="284"/>
            <ac:spMk id="2" creationId="{B78CBCAF-2A7B-2CBF-A3FB-11ED239FD850}"/>
          </ac:spMkLst>
        </pc:spChg>
        <pc:graphicFrameChg chg="add mod ord modVis">
          <ac:chgData name="Stepan Sofoyan" userId="fb21c576432eb2f6" providerId="LiveId" clId="{E40589C7-025B-45AD-89B6-748A3CDC1555}" dt="2025-12-14T22:49:58.985" v="1401"/>
          <ac:graphicFrameMkLst>
            <pc:docMk/>
            <pc:sldMk cId="832580512" sldId="284"/>
            <ac:graphicFrameMk id="5" creationId="{FABE44BF-433A-E743-C035-A3D09A33146E}"/>
          </ac:graphicFrameMkLst>
        </pc:graphicFrameChg>
        <pc:picChg chg="add mod">
          <ac:chgData name="Stepan Sofoyan" userId="fb21c576432eb2f6" providerId="LiveId" clId="{E40589C7-025B-45AD-89B6-748A3CDC1555}" dt="2025-12-14T23:27:47.784" v="2674" actId="1076"/>
          <ac:picMkLst>
            <pc:docMk/>
            <pc:sldMk cId="832580512" sldId="284"/>
            <ac:picMk id="8" creationId="{1E478EB7-DB7E-C352-39C9-4D25B05C9E30}"/>
          </ac:picMkLst>
        </pc:picChg>
        <pc:picChg chg="add mod">
          <ac:chgData name="Stepan Sofoyan" userId="fb21c576432eb2f6" providerId="LiveId" clId="{E40589C7-025B-45AD-89B6-748A3CDC1555}" dt="2025-12-14T23:28:01.538" v="2677" actId="1076"/>
          <ac:picMkLst>
            <pc:docMk/>
            <pc:sldMk cId="832580512" sldId="284"/>
            <ac:picMk id="10" creationId="{1C4EE284-502B-AC4B-4165-574B8E94C05B}"/>
          </ac:picMkLst>
        </pc:picChg>
        <pc:picChg chg="add mod">
          <ac:chgData name="Stepan Sofoyan" userId="fb21c576432eb2f6" providerId="LiveId" clId="{E40589C7-025B-45AD-89B6-748A3CDC1555}" dt="2025-12-14T23:29:20.459" v="2687" actId="14100"/>
          <ac:picMkLst>
            <pc:docMk/>
            <pc:sldMk cId="832580512" sldId="284"/>
            <ac:picMk id="12" creationId="{02695DD4-D200-2B9B-ABE7-F0219123CF25}"/>
          </ac:picMkLst>
        </pc:picChg>
      </pc:sldChg>
      <pc:sldChg chg="addSp delSp modSp new mod">
        <pc:chgData name="Stepan Sofoyan" userId="fb21c576432eb2f6" providerId="LiveId" clId="{E40589C7-025B-45AD-89B6-748A3CDC1555}" dt="2025-12-15T00:08:29.669" v="3954" actId="299"/>
        <pc:sldMkLst>
          <pc:docMk/>
          <pc:sldMk cId="2773884497" sldId="285"/>
        </pc:sldMkLst>
        <pc:spChg chg="mod">
          <ac:chgData name="Stepan Sofoyan" userId="fb21c576432eb2f6" providerId="LiveId" clId="{E40589C7-025B-45AD-89B6-748A3CDC1555}" dt="2025-12-15T00:08:29.669" v="3954" actId="299"/>
          <ac:spMkLst>
            <pc:docMk/>
            <pc:sldMk cId="2773884497" sldId="285"/>
            <ac:spMk id="2" creationId="{D2AB252F-0C18-8EB2-45D4-9D13482D4124}"/>
          </ac:spMkLst>
        </pc:spChg>
        <pc:graphicFrameChg chg="add mod ord modVis">
          <ac:chgData name="Stepan Sofoyan" userId="fb21c576432eb2f6" providerId="LiveId" clId="{E40589C7-025B-45AD-89B6-748A3CDC1555}" dt="2025-12-14T23:47:10.405" v="2832"/>
          <ac:graphicFrameMkLst>
            <pc:docMk/>
            <pc:sldMk cId="2773884497" sldId="285"/>
            <ac:graphicFrameMk id="4" creationId="{1D0CEADC-4CD9-EB88-3C1F-116B35B53B8A}"/>
          </ac:graphicFrameMkLst>
        </pc:graphicFrameChg>
        <pc:picChg chg="add mod">
          <ac:chgData name="Stepan Sofoyan" userId="fb21c576432eb2f6" providerId="LiveId" clId="{E40589C7-025B-45AD-89B6-748A3CDC1555}" dt="2025-12-15T00:07:23.674" v="3930" actId="1076"/>
          <ac:picMkLst>
            <pc:docMk/>
            <pc:sldMk cId="2773884497" sldId="285"/>
            <ac:picMk id="11" creationId="{B2AAF3B6-CCDE-C6C0-12E5-7B0E6043FAA3}"/>
          </ac:picMkLst>
        </pc:picChg>
        <pc:picChg chg="add mod">
          <ac:chgData name="Stepan Sofoyan" userId="fb21c576432eb2f6" providerId="LiveId" clId="{E40589C7-025B-45AD-89B6-748A3CDC1555}" dt="2025-12-15T00:02:56.028" v="3874" actId="1076"/>
          <ac:picMkLst>
            <pc:docMk/>
            <pc:sldMk cId="2773884497" sldId="285"/>
            <ac:picMk id="13" creationId="{16892665-FCEF-35B8-86B6-02B52CA69438}"/>
          </ac:picMkLst>
        </pc:picChg>
        <pc:picChg chg="add mod">
          <ac:chgData name="Stepan Sofoyan" userId="fb21c576432eb2f6" providerId="LiveId" clId="{E40589C7-025B-45AD-89B6-748A3CDC1555}" dt="2025-12-15T00:07:49.901" v="3936" actId="1076"/>
          <ac:picMkLst>
            <pc:docMk/>
            <pc:sldMk cId="2773884497" sldId="285"/>
            <ac:picMk id="15" creationId="{102B91CE-D6B6-CF11-E900-007800D0E165}"/>
          </ac:picMkLst>
        </pc:picChg>
        <pc:picChg chg="add mod">
          <ac:chgData name="Stepan Sofoyan" userId="fb21c576432eb2f6" providerId="LiveId" clId="{E40589C7-025B-45AD-89B6-748A3CDC1555}" dt="2025-12-15T00:06:34.347" v="3921" actId="1076"/>
          <ac:picMkLst>
            <pc:docMk/>
            <pc:sldMk cId="2773884497" sldId="285"/>
            <ac:picMk id="17" creationId="{AC50A1E6-B032-5D6A-9802-6EDE780508E6}"/>
          </ac:picMkLst>
        </pc:picChg>
        <pc:picChg chg="add mod">
          <ac:chgData name="Stepan Sofoyan" userId="fb21c576432eb2f6" providerId="LiveId" clId="{E40589C7-025B-45AD-89B6-748A3CDC1555}" dt="2025-12-15T00:07:29.798" v="3931" actId="1076"/>
          <ac:picMkLst>
            <pc:docMk/>
            <pc:sldMk cId="2773884497" sldId="285"/>
            <ac:picMk id="19" creationId="{F3B081DD-514D-1B2F-87B5-6069C593D073}"/>
          </ac:picMkLst>
        </pc:picChg>
      </pc:sldChg>
    </pc:docChg>
  </pc:docChgLst>
  <pc:docChgLst>
    <pc:chgData name="Gastgebruiker" providerId="Windows Live" clId="Web-{B33E5AC6-5DD5-8BEE-BDD5-826D1882F685}"/>
    <pc:docChg chg="modSld">
      <pc:chgData name="Gastgebruiker" userId="" providerId="Windows Live" clId="Web-{B33E5AC6-5DD5-8BEE-BDD5-826D1882F685}" dt="2025-12-15T00:21:56.123" v="36" actId="20577"/>
      <pc:docMkLst>
        <pc:docMk/>
      </pc:docMkLst>
      <pc:sldChg chg="addSp delSp modSp">
        <pc:chgData name="Gastgebruiker" userId="" providerId="Windows Live" clId="Web-{B33E5AC6-5DD5-8BEE-BDD5-826D1882F685}" dt="2025-12-14T21:49:06.521" v="14"/>
        <pc:sldMkLst>
          <pc:docMk/>
          <pc:sldMk cId="2223143640" sldId="272"/>
        </pc:sldMkLst>
        <pc:picChg chg="add mod modCrop">
          <ac:chgData name="Gastgebruiker" userId="" providerId="Windows Live" clId="Web-{B33E5AC6-5DD5-8BEE-BDD5-826D1882F685}" dt="2025-12-14T21:49:06.521" v="14"/>
          <ac:picMkLst>
            <pc:docMk/>
            <pc:sldMk cId="2223143640" sldId="272"/>
            <ac:picMk id="7" creationId="{6C114C63-628B-98A2-9F9C-E6DAA2D48E84}"/>
          </ac:picMkLst>
        </pc:picChg>
      </pc:sldChg>
      <pc:sldChg chg="addSp delSp modSp">
        <pc:chgData name="Gastgebruiker" userId="" providerId="Windows Live" clId="Web-{B33E5AC6-5DD5-8BEE-BDD5-826D1882F685}" dt="2025-12-14T21:48:33.595" v="7" actId="1076"/>
        <pc:sldMkLst>
          <pc:docMk/>
          <pc:sldMk cId="1154887423" sldId="279"/>
        </pc:sldMkLst>
        <pc:picChg chg="add mod">
          <ac:chgData name="Gastgebruiker" userId="" providerId="Windows Live" clId="Web-{B33E5AC6-5DD5-8BEE-BDD5-826D1882F685}" dt="2025-12-14T21:48:33.595" v="7" actId="1076"/>
          <ac:picMkLst>
            <pc:docMk/>
            <pc:sldMk cId="1154887423" sldId="279"/>
            <ac:picMk id="5" creationId="{EE873120-9652-CD2E-8F3F-F817542054B0}"/>
          </ac:picMkLst>
        </pc:picChg>
      </pc:sldChg>
      <pc:sldChg chg="addSp delSp modSp">
        <pc:chgData name="Gastgebruiker" userId="" providerId="Windows Live" clId="Web-{B33E5AC6-5DD5-8BEE-BDD5-826D1882F685}" dt="2025-12-14T23:18:49.484" v="32" actId="1076"/>
        <pc:sldMkLst>
          <pc:docMk/>
          <pc:sldMk cId="530692560" sldId="282"/>
        </pc:sldMkLst>
      </pc:sldChg>
      <pc:sldChg chg="modSp">
        <pc:chgData name="Gastgebruiker" userId="" providerId="Windows Live" clId="Web-{B33E5AC6-5DD5-8BEE-BDD5-826D1882F685}" dt="2025-12-15T00:21:56.123" v="36" actId="20577"/>
        <pc:sldMkLst>
          <pc:docMk/>
          <pc:sldMk cId="2783128125" sldId="283"/>
        </pc:sldMkLst>
        <pc:spChg chg="mod">
          <ac:chgData name="Gastgebruiker" userId="" providerId="Windows Live" clId="Web-{B33E5AC6-5DD5-8BEE-BDD5-826D1882F685}" dt="2025-12-15T00:21:56.123" v="36" actId="20577"/>
          <ac:spMkLst>
            <pc:docMk/>
            <pc:sldMk cId="2783128125" sldId="283"/>
            <ac:spMk id="2" creationId="{A745ED99-ABBC-C00B-1626-47619DCB793C}"/>
          </ac:spMkLst>
        </pc:spChg>
      </pc:sldChg>
    </pc:docChg>
  </pc:docChgLst>
  <pc:docChgLst>
    <pc:chgData name="Gevorg Sofoyan" userId="ce8608b3d8e292f1" providerId="LiveId" clId="{E40589C7-025B-45AD-89B6-748A3CDC1555}"/>
    <pc:docChg chg="undo custSel addSld delSld modSld sldOrd">
      <pc:chgData name="Gevorg Sofoyan" userId="ce8608b3d8e292f1" providerId="LiveId" clId="{E40589C7-025B-45AD-89B6-748A3CDC1555}" dt="2025-12-19T08:28:46.633" v="221" actId="14100"/>
      <pc:docMkLst>
        <pc:docMk/>
      </pc:docMkLst>
      <pc:sldChg chg="addSp modSp mod">
        <pc:chgData name="Gevorg Sofoyan" userId="ce8608b3d8e292f1" providerId="LiveId" clId="{E40589C7-025B-45AD-89B6-748A3CDC1555}" dt="2025-12-18T17:02:27.544" v="141" actId="1076"/>
        <pc:sldMkLst>
          <pc:docMk/>
          <pc:sldMk cId="1388501769" sldId="259"/>
        </pc:sldMkLst>
        <pc:picChg chg="add mod">
          <ac:chgData name="Gevorg Sofoyan" userId="ce8608b3d8e292f1" providerId="LiveId" clId="{E40589C7-025B-45AD-89B6-748A3CDC1555}" dt="2025-12-18T17:02:27.544" v="141" actId="1076"/>
          <ac:picMkLst>
            <pc:docMk/>
            <pc:sldMk cId="1388501769" sldId="259"/>
            <ac:picMk id="4" creationId="{17B88105-B38B-9A46-ED1D-874F43C80E67}"/>
          </ac:picMkLst>
        </pc:picChg>
      </pc:sldChg>
      <pc:sldChg chg="modSp mod">
        <pc:chgData name="Gevorg Sofoyan" userId="ce8608b3d8e292f1" providerId="LiveId" clId="{E40589C7-025B-45AD-89B6-748A3CDC1555}" dt="2025-12-18T22:26:16.779" v="186" actId="299"/>
        <pc:sldMkLst>
          <pc:docMk/>
          <pc:sldMk cId="832580512" sldId="284"/>
        </pc:sldMkLst>
        <pc:spChg chg="mod">
          <ac:chgData name="Gevorg Sofoyan" userId="ce8608b3d8e292f1" providerId="LiveId" clId="{E40589C7-025B-45AD-89B6-748A3CDC1555}" dt="2025-12-18T22:26:16.779" v="186" actId="299"/>
          <ac:spMkLst>
            <pc:docMk/>
            <pc:sldMk cId="832580512" sldId="284"/>
            <ac:spMk id="2" creationId="{B78CBCAF-2A7B-2CBF-A3FB-11ED239FD850}"/>
          </ac:spMkLst>
        </pc:spChg>
      </pc:sldChg>
      <pc:sldChg chg="addSp delSp modSp new del mod ord">
        <pc:chgData name="Gevorg Sofoyan" userId="ce8608b3d8e292f1" providerId="LiveId" clId="{E40589C7-025B-45AD-89B6-748A3CDC1555}" dt="2025-12-18T17:03:28.367" v="179" actId="47"/>
        <pc:sldMkLst>
          <pc:docMk/>
          <pc:sldMk cId="3635273971" sldId="286"/>
        </pc:sldMkLst>
        <pc:spChg chg="del">
          <ac:chgData name="Gevorg Sofoyan" userId="ce8608b3d8e292f1" providerId="LiveId" clId="{E40589C7-025B-45AD-89B6-748A3CDC1555}" dt="2025-12-18T16:13:48.363" v="2" actId="478"/>
          <ac:spMkLst>
            <pc:docMk/>
            <pc:sldMk cId="3635273971" sldId="286"/>
            <ac:spMk id="2" creationId="{AC1F6721-4A05-4E9F-A2C5-22974CDE5D06}"/>
          </ac:spMkLst>
        </pc:spChg>
        <pc:spChg chg="del">
          <ac:chgData name="Gevorg Sofoyan" userId="ce8608b3d8e292f1" providerId="LiveId" clId="{E40589C7-025B-45AD-89B6-748A3CDC1555}" dt="2025-12-18T16:13:50.520" v="17" actId="478"/>
          <ac:spMkLst>
            <pc:docMk/>
            <pc:sldMk cId="3635273971" sldId="286"/>
            <ac:spMk id="3" creationId="{7782B712-6DA0-ABA2-26CE-4FF7F6CA2DC5}"/>
          </ac:spMkLst>
        </pc:spChg>
        <pc:spChg chg="del">
          <ac:chgData name="Gevorg Sofoyan" userId="ce8608b3d8e292f1" providerId="LiveId" clId="{E40589C7-025B-45AD-89B6-748A3CDC1555}" dt="2025-12-18T16:13:46.553" v="1" actId="478"/>
          <ac:spMkLst>
            <pc:docMk/>
            <pc:sldMk cId="3635273971" sldId="286"/>
            <ac:spMk id="4" creationId="{49D7E628-E18D-79AA-6680-3335A30B8FEC}"/>
          </ac:spMkLst>
        </pc:spChg>
        <pc:spChg chg="add mod">
          <ac:chgData name="Gevorg Sofoyan" userId="ce8608b3d8e292f1" providerId="LiveId" clId="{E40589C7-025B-45AD-89B6-748A3CDC1555}" dt="2025-12-18T16:30:45.122" v="27"/>
          <ac:spMkLst>
            <pc:docMk/>
            <pc:sldMk cId="3635273971" sldId="286"/>
            <ac:spMk id="10" creationId="{EB0C5038-1F48-0D8F-9999-C0CCCCEF154C}"/>
          </ac:spMkLst>
        </pc:spChg>
        <pc:spChg chg="add del">
          <ac:chgData name="Gevorg Sofoyan" userId="ce8608b3d8e292f1" providerId="LiveId" clId="{E40589C7-025B-45AD-89B6-748A3CDC1555}" dt="2025-12-18T16:31:01.940" v="29" actId="22"/>
          <ac:spMkLst>
            <pc:docMk/>
            <pc:sldMk cId="3635273971" sldId="286"/>
            <ac:spMk id="12" creationId="{3438BC33-F1E8-601F-9376-D7D85819A88A}"/>
          </ac:spMkLst>
        </pc:spChg>
        <pc:spChg chg="add del mod">
          <ac:chgData name="Gevorg Sofoyan" userId="ce8608b3d8e292f1" providerId="LiveId" clId="{E40589C7-025B-45AD-89B6-748A3CDC1555}" dt="2025-12-18T16:32:59.054" v="37" actId="478"/>
          <ac:spMkLst>
            <pc:docMk/>
            <pc:sldMk cId="3635273971" sldId="286"/>
            <ac:spMk id="14" creationId="{675B12F1-F04B-9D84-315A-F9049E985D67}"/>
          </ac:spMkLst>
        </pc:spChg>
        <pc:spChg chg="add mod">
          <ac:chgData name="Gevorg Sofoyan" userId="ce8608b3d8e292f1" providerId="LiveId" clId="{E40589C7-025B-45AD-89B6-748A3CDC1555}" dt="2025-12-18T16:57:18.780" v="77" actId="208"/>
          <ac:spMkLst>
            <pc:docMk/>
            <pc:sldMk cId="3635273971" sldId="286"/>
            <ac:spMk id="20" creationId="{2DFC5F8E-E347-62B0-92D1-422899A4695A}"/>
          </ac:spMkLst>
        </pc:spChg>
        <pc:spChg chg="mod">
          <ac:chgData name="Gevorg Sofoyan" userId="ce8608b3d8e292f1" providerId="LiveId" clId="{E40589C7-025B-45AD-89B6-748A3CDC1555}" dt="2025-12-18T16:58:18.697" v="95" actId="1076"/>
          <ac:spMkLst>
            <pc:docMk/>
            <pc:sldMk cId="3635273971" sldId="286"/>
            <ac:spMk id="22" creationId="{D0F3AF76-DA76-AC78-6E48-6E39831F7002}"/>
          </ac:spMkLst>
        </pc:spChg>
        <pc:spChg chg="mod">
          <ac:chgData name="Gevorg Sofoyan" userId="ce8608b3d8e292f1" providerId="LiveId" clId="{E40589C7-025B-45AD-89B6-748A3CDC1555}" dt="2025-12-18T16:58:15.931" v="94" actId="1076"/>
          <ac:spMkLst>
            <pc:docMk/>
            <pc:sldMk cId="3635273971" sldId="286"/>
            <ac:spMk id="23" creationId="{0F512989-3AF8-B2AD-9C98-BFCABED86581}"/>
          </ac:spMkLst>
        </pc:spChg>
        <pc:spChg chg="add mod">
          <ac:chgData name="Gevorg Sofoyan" userId="ce8608b3d8e292f1" providerId="LiveId" clId="{E40589C7-025B-45AD-89B6-748A3CDC1555}" dt="2025-12-18T16:58:27.995" v="96" actId="108"/>
          <ac:spMkLst>
            <pc:docMk/>
            <pc:sldMk cId="3635273971" sldId="286"/>
            <ac:spMk id="24" creationId="{8C8A9E57-621C-2331-EC10-3C292B2B602F}"/>
          </ac:spMkLst>
        </pc:spChg>
        <pc:spChg chg="mod">
          <ac:chgData name="Gevorg Sofoyan" userId="ce8608b3d8e292f1" providerId="LiveId" clId="{E40589C7-025B-45AD-89B6-748A3CDC1555}" dt="2025-12-18T16:55:54.514" v="67" actId="403"/>
          <ac:spMkLst>
            <pc:docMk/>
            <pc:sldMk cId="3635273971" sldId="286"/>
            <ac:spMk id="26" creationId="{8E652DC9-E0E8-2F48-C716-AE89930A63E7}"/>
          </ac:spMkLst>
        </pc:spChg>
        <pc:spChg chg="mod">
          <ac:chgData name="Gevorg Sofoyan" userId="ce8608b3d8e292f1" providerId="LiveId" clId="{E40589C7-025B-45AD-89B6-748A3CDC1555}" dt="2025-12-18T16:58:00.168" v="88" actId="403"/>
          <ac:spMkLst>
            <pc:docMk/>
            <pc:sldMk cId="3635273971" sldId="286"/>
            <ac:spMk id="27" creationId="{C3B7197A-5F9C-FC3F-50FE-1051BBB8041D}"/>
          </ac:spMkLst>
        </pc:spChg>
        <pc:grpChg chg="add mod ord">
          <ac:chgData name="Gevorg Sofoyan" userId="ce8608b3d8e292f1" providerId="LiveId" clId="{E40589C7-025B-45AD-89B6-748A3CDC1555}" dt="2025-12-18T16:54:31.141" v="53" actId="1076"/>
          <ac:grpSpMkLst>
            <pc:docMk/>
            <pc:sldMk cId="3635273971" sldId="286"/>
            <ac:grpSpMk id="9" creationId="{0CE8A594-A378-9F50-5EF4-B5A039D1A722}"/>
          </ac:grpSpMkLst>
        </pc:grpChg>
        <pc:grpChg chg="add mod ord">
          <ac:chgData name="Gevorg Sofoyan" userId="ce8608b3d8e292f1" providerId="LiveId" clId="{E40589C7-025B-45AD-89B6-748A3CDC1555}" dt="2025-12-18T16:54:36.438" v="54" actId="1076"/>
          <ac:grpSpMkLst>
            <pc:docMk/>
            <pc:sldMk cId="3635273971" sldId="286"/>
            <ac:grpSpMk id="17" creationId="{1FE4F7B5-0F97-4BEC-F5C3-BBBBCF6F8467}"/>
          </ac:grpSpMkLst>
        </pc:grpChg>
        <pc:grpChg chg="add mod">
          <ac:chgData name="Gevorg Sofoyan" userId="ce8608b3d8e292f1" providerId="LiveId" clId="{E40589C7-025B-45AD-89B6-748A3CDC1555}" dt="2025-12-18T16:55:19.131" v="57" actId="164"/>
          <ac:grpSpMkLst>
            <pc:docMk/>
            <pc:sldMk cId="3635273971" sldId="286"/>
            <ac:grpSpMk id="21" creationId="{7B518534-C471-9E51-D5B8-D3526D501097}"/>
          </ac:grpSpMkLst>
        </pc:grpChg>
        <pc:grpChg chg="add mod">
          <ac:chgData name="Gevorg Sofoyan" userId="ce8608b3d8e292f1" providerId="LiveId" clId="{E40589C7-025B-45AD-89B6-748A3CDC1555}" dt="2025-12-18T16:55:19.131" v="57" actId="164"/>
          <ac:grpSpMkLst>
            <pc:docMk/>
            <pc:sldMk cId="3635273971" sldId="286"/>
            <ac:grpSpMk id="25" creationId="{FC787FD3-C337-E9BB-135C-D6A959514CDD}"/>
          </ac:grpSpMkLst>
        </pc:grpChg>
        <pc:grpChg chg="add mod">
          <ac:chgData name="Gevorg Sofoyan" userId="ce8608b3d8e292f1" providerId="LiveId" clId="{E40589C7-025B-45AD-89B6-748A3CDC1555}" dt="2025-12-18T16:56:44.398" v="75" actId="1076"/>
          <ac:grpSpMkLst>
            <pc:docMk/>
            <pc:sldMk cId="3635273971" sldId="286"/>
            <ac:grpSpMk id="30" creationId="{AD494E0C-895C-80EA-B4CF-D0BB310771EF}"/>
          </ac:grpSpMkLst>
        </pc:grpChg>
        <pc:graphicFrameChg chg="add mod ord modVis">
          <ac:chgData name="Gevorg Sofoyan" userId="ce8608b3d8e292f1" providerId="LiveId" clId="{E40589C7-025B-45AD-89B6-748A3CDC1555}" dt="2025-12-18T16:54:24.654" v="52"/>
          <ac:graphicFrameMkLst>
            <pc:docMk/>
            <pc:sldMk cId="3635273971" sldId="286"/>
            <ac:graphicFrameMk id="5" creationId="{E0BFC4CB-5AF8-0EC9-81D8-6202BD1510F1}"/>
          </ac:graphicFrameMkLst>
        </pc:graphicFrameChg>
        <pc:picChg chg="add mod">
          <ac:chgData name="Gevorg Sofoyan" userId="ce8608b3d8e292f1" providerId="LiveId" clId="{E40589C7-025B-45AD-89B6-748A3CDC1555}" dt="2025-12-18T16:13:52.113" v="18"/>
          <ac:picMkLst>
            <pc:docMk/>
            <pc:sldMk cId="3635273971" sldId="286"/>
            <ac:picMk id="6" creationId="{B371EE8F-82B6-B499-1D88-52EF7F4F1B62}"/>
          </ac:picMkLst>
        </pc:picChg>
        <pc:picChg chg="add mod">
          <ac:chgData name="Gevorg Sofoyan" userId="ce8608b3d8e292f1" providerId="LiveId" clId="{E40589C7-025B-45AD-89B6-748A3CDC1555}" dt="2025-12-18T16:14:03.358" v="20" actId="164"/>
          <ac:picMkLst>
            <pc:docMk/>
            <pc:sldMk cId="3635273971" sldId="286"/>
            <ac:picMk id="7" creationId="{EFBAB049-304A-7066-29BD-67F59D2071C7}"/>
          </ac:picMkLst>
        </pc:picChg>
        <pc:picChg chg="add mod">
          <ac:chgData name="Gevorg Sofoyan" userId="ce8608b3d8e292f1" providerId="LiveId" clId="{E40589C7-025B-45AD-89B6-748A3CDC1555}" dt="2025-12-18T16:14:03.358" v="20" actId="164"/>
          <ac:picMkLst>
            <pc:docMk/>
            <pc:sldMk cId="3635273971" sldId="286"/>
            <ac:picMk id="8" creationId="{57EEFF9A-05F2-B49C-D124-C20223332BB1}"/>
          </ac:picMkLst>
        </pc:picChg>
        <pc:picChg chg="add mod">
          <ac:chgData name="Gevorg Sofoyan" userId="ce8608b3d8e292f1" providerId="LiveId" clId="{E40589C7-025B-45AD-89B6-748A3CDC1555}" dt="2025-12-18T16:54:07.535" v="43" actId="164"/>
          <ac:picMkLst>
            <pc:docMk/>
            <pc:sldMk cId="3635273971" sldId="286"/>
            <ac:picMk id="15" creationId="{4EEBB158-C1C9-5457-0FAD-68C4E13E19AB}"/>
          </ac:picMkLst>
        </pc:picChg>
        <pc:picChg chg="add mod">
          <ac:chgData name="Gevorg Sofoyan" userId="ce8608b3d8e292f1" providerId="LiveId" clId="{E40589C7-025B-45AD-89B6-748A3CDC1555}" dt="2025-12-18T16:54:07.535" v="43" actId="164"/>
          <ac:picMkLst>
            <pc:docMk/>
            <pc:sldMk cId="3635273971" sldId="286"/>
            <ac:picMk id="16" creationId="{24B52E2F-2661-C000-FBAD-A98EA827C7B8}"/>
          </ac:picMkLst>
        </pc:picChg>
        <pc:picChg chg="add mod">
          <ac:chgData name="Gevorg Sofoyan" userId="ce8608b3d8e292f1" providerId="LiveId" clId="{E40589C7-025B-45AD-89B6-748A3CDC1555}" dt="2025-12-18T16:57:28.839" v="78" actId="207"/>
          <ac:picMkLst>
            <pc:docMk/>
            <pc:sldMk cId="3635273971" sldId="286"/>
            <ac:picMk id="28" creationId="{D3FB79F0-68AC-D0E2-1FE1-D6DE064B6E99}"/>
          </ac:picMkLst>
        </pc:picChg>
        <pc:picChg chg="add mod">
          <ac:chgData name="Gevorg Sofoyan" userId="ce8608b3d8e292f1" providerId="LiveId" clId="{E40589C7-025B-45AD-89B6-748A3CDC1555}" dt="2025-12-18T16:58:42.279" v="98" actId="207"/>
          <ac:picMkLst>
            <pc:docMk/>
            <pc:sldMk cId="3635273971" sldId="286"/>
            <ac:picMk id="29" creationId="{9EECBCE0-5699-B539-628F-5D7697145C52}"/>
          </ac:picMkLst>
        </pc:picChg>
        <pc:cxnChg chg="mod">
          <ac:chgData name="Gevorg Sofoyan" userId="ce8608b3d8e292f1" providerId="LiveId" clId="{E40589C7-025B-45AD-89B6-748A3CDC1555}" dt="2025-12-18T16:57:36.441" v="79" actId="208"/>
          <ac:cxnSpMkLst>
            <pc:docMk/>
            <pc:sldMk cId="3635273971" sldId="286"/>
            <ac:cxnSpMk id="18" creationId="{5D99680D-2EA2-5D04-48E3-9E8B7E75C1CA}"/>
          </ac:cxnSpMkLst>
        </pc:cxnChg>
        <pc:cxnChg chg="mod">
          <ac:chgData name="Gevorg Sofoyan" userId="ce8608b3d8e292f1" providerId="LiveId" clId="{E40589C7-025B-45AD-89B6-748A3CDC1555}" dt="2025-12-18T16:58:33.789" v="97" actId="108"/>
          <ac:cxnSpMkLst>
            <pc:docMk/>
            <pc:sldMk cId="3635273971" sldId="286"/>
            <ac:cxnSpMk id="19" creationId="{E8D70296-8C84-F8AC-D432-B66F98CA6A46}"/>
          </ac:cxnSpMkLst>
        </pc:cxnChg>
      </pc:sldChg>
      <pc:sldChg chg="addSp delSp modSp new mod">
        <pc:chgData name="Gevorg Sofoyan" userId="ce8608b3d8e292f1" providerId="LiveId" clId="{E40589C7-025B-45AD-89B6-748A3CDC1555}" dt="2025-12-18T22:24:46.659" v="182" actId="313"/>
        <pc:sldMkLst>
          <pc:docMk/>
          <pc:sldMk cId="2697188611" sldId="287"/>
        </pc:sldMkLst>
        <pc:spChg chg="add del">
          <ac:chgData name="Gevorg Sofoyan" userId="ce8608b3d8e292f1" providerId="LiveId" clId="{E40589C7-025B-45AD-89B6-748A3CDC1555}" dt="2025-12-18T17:01:20.255" v="134" actId="478"/>
          <ac:spMkLst>
            <pc:docMk/>
            <pc:sldMk cId="2697188611" sldId="287"/>
            <ac:spMk id="2" creationId="{627BB161-0169-C0A2-138D-A9957B292617}"/>
          </ac:spMkLst>
        </pc:spChg>
        <pc:spChg chg="del">
          <ac:chgData name="Gevorg Sofoyan" userId="ce8608b3d8e292f1" providerId="LiveId" clId="{E40589C7-025B-45AD-89B6-748A3CDC1555}" dt="2025-12-18T16:59:01.801" v="100" actId="478"/>
          <ac:spMkLst>
            <pc:docMk/>
            <pc:sldMk cId="2697188611" sldId="287"/>
            <ac:spMk id="3" creationId="{7A291EA2-47A5-6B6F-A233-8901911C6D5A}"/>
          </ac:spMkLst>
        </pc:spChg>
        <pc:spChg chg="mod">
          <ac:chgData name="Gevorg Sofoyan" userId="ce8608b3d8e292f1" providerId="LiveId" clId="{E40589C7-025B-45AD-89B6-748A3CDC1555}" dt="2025-12-18T16:59:09.654" v="101"/>
          <ac:spMkLst>
            <pc:docMk/>
            <pc:sldMk cId="2697188611" sldId="287"/>
            <ac:spMk id="13" creationId="{1E5547E9-1DDE-4421-0E96-4B264B1221F5}"/>
          </ac:spMkLst>
        </pc:spChg>
        <pc:spChg chg="mod">
          <ac:chgData name="Gevorg Sofoyan" userId="ce8608b3d8e292f1" providerId="LiveId" clId="{E40589C7-025B-45AD-89B6-748A3CDC1555}" dt="2025-12-18T17:01:19.906" v="127" actId="1076"/>
          <ac:spMkLst>
            <pc:docMk/>
            <pc:sldMk cId="2697188611" sldId="287"/>
            <ac:spMk id="15" creationId="{C6527A5C-52FF-21D3-584D-A0C1F48EA6C8}"/>
          </ac:spMkLst>
        </pc:spChg>
        <pc:spChg chg="mod">
          <ac:chgData name="Gevorg Sofoyan" userId="ce8608b3d8e292f1" providerId="LiveId" clId="{E40589C7-025B-45AD-89B6-748A3CDC1555}" dt="2025-12-18T22:24:46.659" v="182" actId="313"/>
          <ac:spMkLst>
            <pc:docMk/>
            <pc:sldMk cId="2697188611" sldId="287"/>
            <ac:spMk id="19" creationId="{E4E63707-F8F6-4E77-8B5F-8730C725428E}"/>
          </ac:spMkLst>
        </pc:spChg>
        <pc:spChg chg="mod">
          <ac:chgData name="Gevorg Sofoyan" userId="ce8608b3d8e292f1" providerId="LiveId" clId="{E40589C7-025B-45AD-89B6-748A3CDC1555}" dt="2025-12-18T16:59:09.654" v="101"/>
          <ac:spMkLst>
            <pc:docMk/>
            <pc:sldMk cId="2697188611" sldId="287"/>
            <ac:spMk id="20" creationId="{A2D51168-5373-2F81-A0CC-7756579402C1}"/>
          </ac:spMkLst>
        </pc:spChg>
        <pc:spChg chg="mod">
          <ac:chgData name="Gevorg Sofoyan" userId="ce8608b3d8e292f1" providerId="LiveId" clId="{E40589C7-025B-45AD-89B6-748A3CDC1555}" dt="2025-12-18T16:59:09.654" v="101"/>
          <ac:spMkLst>
            <pc:docMk/>
            <pc:sldMk cId="2697188611" sldId="287"/>
            <ac:spMk id="21" creationId="{BC4240F0-8775-FD4F-55FD-41C36D3F4B30}"/>
          </ac:spMkLst>
        </pc:spChg>
        <pc:spChg chg="mod">
          <ac:chgData name="Gevorg Sofoyan" userId="ce8608b3d8e292f1" providerId="LiveId" clId="{E40589C7-025B-45AD-89B6-748A3CDC1555}" dt="2025-12-18T16:59:09.654" v="101"/>
          <ac:spMkLst>
            <pc:docMk/>
            <pc:sldMk cId="2697188611" sldId="287"/>
            <ac:spMk id="22" creationId="{1F9C5962-8A06-7C1A-D173-6C9E16C78CC4}"/>
          </ac:spMkLst>
        </pc:spChg>
        <pc:grpChg chg="mod">
          <ac:chgData name="Gevorg Sofoyan" userId="ce8608b3d8e292f1" providerId="LiveId" clId="{E40589C7-025B-45AD-89B6-748A3CDC1555}" dt="2025-12-18T17:01:36.989" v="138" actId="1076"/>
          <ac:grpSpMkLst>
            <pc:docMk/>
            <pc:sldMk cId="2697188611" sldId="287"/>
            <ac:grpSpMk id="4" creationId="{0BD5C8CC-59D2-88FE-0684-65E3802DE50F}"/>
          </ac:grpSpMkLst>
        </pc:grpChg>
        <pc:grpChg chg="mod">
          <ac:chgData name="Gevorg Sofoyan" userId="ce8608b3d8e292f1" providerId="LiveId" clId="{E40589C7-025B-45AD-89B6-748A3CDC1555}" dt="2025-12-18T17:01:29.796" v="137" actId="1076"/>
          <ac:grpSpMkLst>
            <pc:docMk/>
            <pc:sldMk cId="2697188611" sldId="287"/>
            <ac:grpSpMk id="7" creationId="{D39526A2-B62B-97C5-0793-8232A9691077}"/>
          </ac:grpSpMkLst>
        </pc:grpChg>
        <pc:grpChg chg="mod">
          <ac:chgData name="Gevorg Sofoyan" userId="ce8608b3d8e292f1" providerId="LiveId" clId="{E40589C7-025B-45AD-89B6-748A3CDC1555}" dt="2025-12-18T16:59:18.185" v="102" actId="1076"/>
          <ac:grpSpMkLst>
            <pc:docMk/>
            <pc:sldMk cId="2697188611" sldId="287"/>
            <ac:grpSpMk id="10" creationId="{D8F404EC-C77B-F4CA-B523-E8969E69D167}"/>
          </ac:grpSpMkLst>
        </pc:grpChg>
        <pc:graphicFrameChg chg="add mod ord modVis">
          <ac:chgData name="Gevorg Sofoyan" userId="ce8608b3d8e292f1" providerId="LiveId" clId="{E40589C7-025B-45AD-89B6-748A3CDC1555}" dt="2025-12-18T17:01:20.254" v="133" actId="14100"/>
          <ac:graphicFrameMkLst>
            <pc:docMk/>
            <pc:sldMk cId="2697188611" sldId="287"/>
            <ac:graphicFrameMk id="24" creationId="{90F5EBBD-3F93-B897-56E8-6B34D40DD4D3}"/>
          </ac:graphicFrameMkLst>
        </pc:graphicFrameChg>
        <pc:picChg chg="mod">
          <ac:chgData name="Gevorg Sofoyan" userId="ce8608b3d8e292f1" providerId="LiveId" clId="{E40589C7-025B-45AD-89B6-748A3CDC1555}" dt="2025-12-18T16:59:09.654" v="101"/>
          <ac:picMkLst>
            <pc:docMk/>
            <pc:sldMk cId="2697188611" sldId="287"/>
            <ac:picMk id="5" creationId="{C6C9828A-3E43-BC39-5AA5-3279B0C947F6}"/>
          </ac:picMkLst>
        </pc:picChg>
        <pc:picChg chg="mod">
          <ac:chgData name="Gevorg Sofoyan" userId="ce8608b3d8e292f1" providerId="LiveId" clId="{E40589C7-025B-45AD-89B6-748A3CDC1555}" dt="2025-12-18T16:59:09.654" v="101"/>
          <ac:picMkLst>
            <pc:docMk/>
            <pc:sldMk cId="2697188611" sldId="287"/>
            <ac:picMk id="8" creationId="{537B2C69-B305-66EF-B55D-954B6C2DFE20}"/>
          </ac:picMkLst>
        </pc:picChg>
        <pc:picChg chg="mod">
          <ac:chgData name="Gevorg Sofoyan" userId="ce8608b3d8e292f1" providerId="LiveId" clId="{E40589C7-025B-45AD-89B6-748A3CDC1555}" dt="2025-12-18T16:59:09.654" v="101"/>
          <ac:picMkLst>
            <pc:docMk/>
            <pc:sldMk cId="2697188611" sldId="287"/>
            <ac:picMk id="9" creationId="{1049A605-6846-08FF-8201-3BEB6D323B17}"/>
          </ac:picMkLst>
        </pc:picChg>
        <pc:picChg chg="mod">
          <ac:chgData name="Gevorg Sofoyan" userId="ce8608b3d8e292f1" providerId="LiveId" clId="{E40589C7-025B-45AD-89B6-748A3CDC1555}" dt="2025-12-18T17:01:19.906" v="127" actId="1076"/>
          <ac:picMkLst>
            <pc:docMk/>
            <pc:sldMk cId="2697188611" sldId="287"/>
            <ac:picMk id="18" creationId="{D3C2A307-2ACF-A2DB-40EB-E719EBC45785}"/>
          </ac:picMkLst>
        </pc:picChg>
        <pc:cxnChg chg="mod">
          <ac:chgData name="Gevorg Sofoyan" userId="ce8608b3d8e292f1" providerId="LiveId" clId="{E40589C7-025B-45AD-89B6-748A3CDC1555}" dt="2025-12-18T17:01:20.604" v="135" actId="14100"/>
          <ac:cxnSpMkLst>
            <pc:docMk/>
            <pc:sldMk cId="2697188611" sldId="287"/>
            <ac:cxnSpMk id="11" creationId="{CEAA4387-511F-F708-957A-C214F5CD7FDE}"/>
          </ac:cxnSpMkLst>
        </pc:cxnChg>
        <pc:cxnChg chg="mod">
          <ac:chgData name="Gevorg Sofoyan" userId="ce8608b3d8e292f1" providerId="LiveId" clId="{E40589C7-025B-45AD-89B6-748A3CDC1555}" dt="2025-12-18T17:01:19.906" v="127" actId="1076"/>
          <ac:cxnSpMkLst>
            <pc:docMk/>
            <pc:sldMk cId="2697188611" sldId="287"/>
            <ac:cxnSpMk id="12" creationId="{0636A1E3-C324-F16A-DB6D-803A34BF2790}"/>
          </ac:cxnSpMkLst>
        </pc:cxnChg>
      </pc:sldChg>
      <pc:sldChg chg="new del">
        <pc:chgData name="Gevorg Sofoyan" userId="ce8608b3d8e292f1" providerId="LiveId" clId="{E40589C7-025B-45AD-89B6-748A3CDC1555}" dt="2025-12-18T17:03:19.155" v="178" actId="47"/>
        <pc:sldMkLst>
          <pc:docMk/>
          <pc:sldMk cId="3247076289" sldId="288"/>
        </pc:sldMkLst>
      </pc:sldChg>
      <pc:sldChg chg="addSp delSp modSp new mod modAnim">
        <pc:chgData name="Gevorg Sofoyan" userId="ce8608b3d8e292f1" providerId="LiveId" clId="{E40589C7-025B-45AD-89B6-748A3CDC1555}" dt="2025-12-19T08:28:46.633" v="221" actId="14100"/>
        <pc:sldMkLst>
          <pc:docMk/>
          <pc:sldMk cId="2173685365" sldId="289"/>
        </pc:sldMkLst>
        <pc:spChg chg="del">
          <ac:chgData name="Gevorg Sofoyan" userId="ce8608b3d8e292f1" providerId="LiveId" clId="{E40589C7-025B-45AD-89B6-748A3CDC1555}" dt="2025-12-18T17:03:05.179" v="145" actId="478"/>
          <ac:spMkLst>
            <pc:docMk/>
            <pc:sldMk cId="2173685365" sldId="289"/>
            <ac:spMk id="2" creationId="{3AD0B593-7979-76B7-CA1B-F66BC9D2E274}"/>
          </ac:spMkLst>
        </pc:spChg>
        <pc:spChg chg="del">
          <ac:chgData name="Gevorg Sofoyan" userId="ce8608b3d8e292f1" providerId="LiveId" clId="{E40589C7-025B-45AD-89B6-748A3CDC1555}" dt="2025-12-18T17:02:55.687" v="144" actId="478"/>
          <ac:spMkLst>
            <pc:docMk/>
            <pc:sldMk cId="2173685365" sldId="289"/>
            <ac:spMk id="3" creationId="{0A4B2330-2DBC-7F40-5D96-51AE615FC03E}"/>
          </ac:spMkLst>
        </pc:spChg>
        <pc:spChg chg="add del mod">
          <ac:chgData name="Gevorg Sofoyan" userId="ce8608b3d8e292f1" providerId="LiveId" clId="{E40589C7-025B-45AD-89B6-748A3CDC1555}" dt="2025-12-19T08:26:43.574" v="188" actId="478"/>
          <ac:spMkLst>
            <pc:docMk/>
            <pc:sldMk cId="2173685365" sldId="289"/>
            <ac:spMk id="3" creationId="{F3EE83D1-A808-AAB8-6BAA-8968F1ED5947}"/>
          </ac:spMkLst>
        </pc:spChg>
        <pc:spChg chg="del mod">
          <ac:chgData name="Gevorg Sofoyan" userId="ce8608b3d8e292f1" providerId="LiveId" clId="{E40589C7-025B-45AD-89B6-748A3CDC1555}" dt="2025-12-19T08:26:40.538" v="187" actId="478"/>
          <ac:spMkLst>
            <pc:docMk/>
            <pc:sldMk cId="2173685365" sldId="289"/>
            <ac:spMk id="4" creationId="{A4915FFE-703F-3958-ACC5-E465FB9E1FAD}"/>
          </ac:spMkLst>
        </pc:spChg>
        <pc:spChg chg="add mod ord">
          <ac:chgData name="Gevorg Sofoyan" userId="ce8608b3d8e292f1" providerId="LiveId" clId="{E40589C7-025B-45AD-89B6-748A3CDC1555}" dt="2025-12-19T08:28:09.499" v="207"/>
          <ac:spMkLst>
            <pc:docMk/>
            <pc:sldMk cId="2173685365" sldId="289"/>
            <ac:spMk id="6" creationId="{1E436B39-30B8-E193-EF00-869C1FF3887B}"/>
          </ac:spMkLst>
        </pc:spChg>
        <pc:spChg chg="add mod ord">
          <ac:chgData name="Gevorg Sofoyan" userId="ce8608b3d8e292f1" providerId="LiveId" clId="{E40589C7-025B-45AD-89B6-748A3CDC1555}" dt="2025-12-19T08:28:46.633" v="221" actId="14100"/>
          <ac:spMkLst>
            <pc:docMk/>
            <pc:sldMk cId="2173685365" sldId="289"/>
            <ac:spMk id="8" creationId="{2CEFD8BD-F259-A10F-69CD-4714DDEEF62F}"/>
          </ac:spMkLst>
        </pc:spChg>
        <pc:graphicFrameChg chg="add mod ord modVis">
          <ac:chgData name="Gevorg Sofoyan" userId="ce8608b3d8e292f1" providerId="LiveId" clId="{E40589C7-025B-45AD-89B6-748A3CDC1555}" dt="2025-12-19T08:28:09.503" v="213"/>
          <ac:graphicFrameMkLst>
            <pc:docMk/>
            <pc:sldMk cId="2173685365" sldId="289"/>
            <ac:graphicFrameMk id="5" creationId="{42FB2F38-479D-C51C-ACDD-AA6A7C81F164}"/>
          </ac:graphicFrameMkLst>
        </pc:graphicFrameChg>
        <pc:picChg chg="add mod ord">
          <ac:chgData name="Gevorg Sofoyan" userId="ce8608b3d8e292f1" providerId="LiveId" clId="{E40589C7-025B-45AD-89B6-748A3CDC1555}" dt="2025-12-19T08:28:28.366" v="218" actId="1076"/>
          <ac:picMkLst>
            <pc:docMk/>
            <pc:sldMk cId="2173685365" sldId="289"/>
            <ac:picMk id="7" creationId="{CD37376A-E88D-ECD7-2856-662E452F9FA4}"/>
          </ac:picMkLst>
        </pc:picChg>
      </pc:sldChg>
    </pc:docChg>
  </pc:docChgLst>
  <pc:docChgLst>
    <pc:chgData name="Gastgebruiker" providerId="Windows Live" clId="Web-{6C884AF0-D2CA-8A6B-675B-ED991D24BE6C}"/>
    <pc:docChg chg="addSld delSld modSld">
      <pc:chgData name="Gastgebruiker" userId="" providerId="Windows Live" clId="Web-{6C884AF0-D2CA-8A6B-675B-ED991D24BE6C}" dt="2025-12-19T11:35:57.003" v="498"/>
      <pc:docMkLst>
        <pc:docMk/>
      </pc:docMkLst>
      <pc:sldChg chg="addSp delSp modSp">
        <pc:chgData name="Gastgebruiker" userId="" providerId="Windows Live" clId="Web-{6C884AF0-D2CA-8A6B-675B-ED991D24BE6C}" dt="2025-12-19T11:15:17.650" v="66" actId="1076"/>
        <pc:sldMkLst>
          <pc:docMk/>
          <pc:sldMk cId="2783128125" sldId="283"/>
        </pc:sldMkLst>
        <pc:spChg chg="mod">
          <ac:chgData name="Gastgebruiker" userId="" providerId="Windows Live" clId="Web-{6C884AF0-D2CA-8A6B-675B-ED991D24BE6C}" dt="2025-12-19T10:53:04.697" v="29" actId="20577"/>
          <ac:spMkLst>
            <pc:docMk/>
            <pc:sldMk cId="2783128125" sldId="283"/>
            <ac:spMk id="2" creationId="{A745ED99-ABBC-C00B-1626-47619DCB793C}"/>
          </ac:spMkLst>
        </pc:spChg>
        <pc:spChg chg="del mod">
          <ac:chgData name="Gastgebruiker" userId="" providerId="Windows Live" clId="Web-{6C884AF0-D2CA-8A6B-675B-ED991D24BE6C}" dt="2025-12-19T10:52:23.775" v="4"/>
          <ac:spMkLst>
            <pc:docMk/>
            <pc:sldMk cId="2783128125" sldId="283"/>
            <ac:spMk id="3" creationId="{71AA6B2D-D975-79A4-0708-95CA98B51095}"/>
          </ac:spMkLst>
        </pc:spChg>
        <pc:spChg chg="del">
          <ac:chgData name="Gastgebruiker" userId="" providerId="Windows Live" clId="Web-{6C884AF0-D2CA-8A6B-675B-ED991D24BE6C}" dt="2025-12-19T10:52:26.900" v="5"/>
          <ac:spMkLst>
            <pc:docMk/>
            <pc:sldMk cId="2783128125" sldId="283"/>
            <ac:spMk id="4" creationId="{C79C9A45-B81E-BA65-0FE6-8DBEC8DEEABF}"/>
          </ac:spMkLst>
        </pc:spChg>
        <pc:picChg chg="add del mod modCrop">
          <ac:chgData name="Gastgebruiker" userId="" providerId="Windows Live" clId="Web-{6C884AF0-D2CA-8A6B-675B-ED991D24BE6C}" dt="2025-12-19T10:58:58.275" v="30"/>
          <ac:picMkLst>
            <pc:docMk/>
            <pc:sldMk cId="2783128125" sldId="283"/>
            <ac:picMk id="6" creationId="{A898A5F3-85DB-50A5-A2F0-BE00D43B818F}"/>
          </ac:picMkLst>
        </pc:picChg>
        <pc:picChg chg="add del mod">
          <ac:chgData name="Gastgebruiker" userId="" providerId="Windows Live" clId="Web-{6C884AF0-D2CA-8A6B-675B-ED991D24BE6C}" dt="2025-12-19T11:15:08.275" v="61"/>
          <ac:picMkLst>
            <pc:docMk/>
            <pc:sldMk cId="2783128125" sldId="283"/>
            <ac:picMk id="7" creationId="{828C7B35-6FE9-092A-2D18-C0F865ABFB2A}"/>
          </ac:picMkLst>
        </pc:picChg>
        <pc:picChg chg="add mod">
          <ac:chgData name="Gastgebruiker" userId="" providerId="Windows Live" clId="Web-{6C884AF0-D2CA-8A6B-675B-ED991D24BE6C}" dt="2025-12-19T11:15:17.650" v="66" actId="1076"/>
          <ac:picMkLst>
            <pc:docMk/>
            <pc:sldMk cId="2783128125" sldId="283"/>
            <ac:picMk id="8" creationId="{AD0D2761-BFAD-9AE9-85EF-5D1B4DC6D230}"/>
          </ac:picMkLst>
        </pc:picChg>
      </pc:sldChg>
      <pc:sldChg chg="addSp delSp modSp new">
        <pc:chgData name="Gastgebruiker" userId="" providerId="Windows Live" clId="Web-{6C884AF0-D2CA-8A6B-675B-ED991D24BE6C}" dt="2025-12-19T11:01:14.244" v="60" actId="1076"/>
        <pc:sldMkLst>
          <pc:docMk/>
          <pc:sldMk cId="4112662560" sldId="290"/>
        </pc:sldMkLst>
        <pc:spChg chg="del">
          <ac:chgData name="Gastgebruiker" userId="" providerId="Windows Live" clId="Web-{6C884AF0-D2CA-8A6B-675B-ED991D24BE6C}" dt="2025-12-19T10:59:46.869" v="39"/>
          <ac:spMkLst>
            <pc:docMk/>
            <pc:sldMk cId="4112662560" sldId="290"/>
            <ac:spMk id="2" creationId="{7CCE4B5D-CFBC-892D-FA1F-3BA80CF3F79E}"/>
          </ac:spMkLst>
        </pc:spChg>
        <pc:spChg chg="del">
          <ac:chgData name="Gastgebruiker" userId="" providerId="Windows Live" clId="Web-{6C884AF0-D2CA-8A6B-675B-ED991D24BE6C}" dt="2025-12-19T10:59:44.478" v="37"/>
          <ac:spMkLst>
            <pc:docMk/>
            <pc:sldMk cId="4112662560" sldId="290"/>
            <ac:spMk id="3" creationId="{9F257CBB-7B00-5867-46F4-E4F1C946F934}"/>
          </ac:spMkLst>
        </pc:spChg>
        <pc:spChg chg="del">
          <ac:chgData name="Gastgebruiker" userId="" providerId="Windows Live" clId="Web-{6C884AF0-D2CA-8A6B-675B-ED991D24BE6C}" dt="2025-12-19T10:59:46.869" v="38"/>
          <ac:spMkLst>
            <pc:docMk/>
            <pc:sldMk cId="4112662560" sldId="290"/>
            <ac:spMk id="4" creationId="{B98192B5-A394-8965-8CA5-BFE7F1B0315E}"/>
          </ac:spMkLst>
        </pc:spChg>
        <pc:spChg chg="add mod">
          <ac:chgData name="Gastgebruiker" userId="" providerId="Windows Live" clId="Web-{6C884AF0-D2CA-8A6B-675B-ED991D24BE6C}" dt="2025-12-19T11:01:14.244" v="60" actId="1076"/>
          <ac:spMkLst>
            <pc:docMk/>
            <pc:sldMk cId="4112662560" sldId="290"/>
            <ac:spMk id="6" creationId="{F6A9D6F1-AC14-4ADF-B38D-99E9C49E23F5}"/>
          </ac:spMkLst>
        </pc:spChg>
        <pc:picChg chg="add mod">
          <ac:chgData name="Gastgebruiker" userId="" providerId="Windows Live" clId="Web-{6C884AF0-D2CA-8A6B-675B-ED991D24BE6C}" dt="2025-12-19T11:00:38.322" v="44" actId="1076"/>
          <ac:picMkLst>
            <pc:docMk/>
            <pc:sldMk cId="4112662560" sldId="290"/>
            <ac:picMk id="5" creationId="{AC27BDE2-A2EE-1C5A-932D-E3DC542A66A6}"/>
          </ac:picMkLst>
        </pc:picChg>
      </pc:sldChg>
      <pc:sldChg chg="addSp delSp modSp new">
        <pc:chgData name="Gastgebruiker" userId="" providerId="Windows Live" clId="Web-{6C884AF0-D2CA-8A6B-675B-ED991D24BE6C}" dt="2025-12-19T11:21:41.078" v="154" actId="1076"/>
        <pc:sldMkLst>
          <pc:docMk/>
          <pc:sldMk cId="471574877" sldId="291"/>
        </pc:sldMkLst>
        <pc:spChg chg="del">
          <ac:chgData name="Gastgebruiker" userId="" providerId="Windows Live" clId="Web-{6C884AF0-D2CA-8A6B-675B-ED991D24BE6C}" dt="2025-12-19T11:16:35.213" v="67"/>
          <ac:spMkLst>
            <pc:docMk/>
            <pc:sldMk cId="471574877" sldId="291"/>
            <ac:spMk id="3" creationId="{55326A0F-1AEB-1A8E-632B-1860C156E684}"/>
          </ac:spMkLst>
        </pc:spChg>
        <pc:spChg chg="del">
          <ac:chgData name="Gastgebruiker" userId="" providerId="Windows Live" clId="Web-{6C884AF0-D2CA-8A6B-675B-ED991D24BE6C}" dt="2025-12-19T11:16:36.432" v="68"/>
          <ac:spMkLst>
            <pc:docMk/>
            <pc:sldMk cId="471574877" sldId="291"/>
            <ac:spMk id="4" creationId="{75445D37-6342-C86E-7920-5D6302784852}"/>
          </ac:spMkLst>
        </pc:spChg>
        <pc:spChg chg="add mod">
          <ac:chgData name="Gastgebruiker" userId="" providerId="Windows Live" clId="Web-{6C884AF0-D2CA-8A6B-675B-ED991D24BE6C}" dt="2025-12-19T11:17:46.260" v="113" actId="20577"/>
          <ac:spMkLst>
            <pc:docMk/>
            <pc:sldMk cId="471574877" sldId="291"/>
            <ac:spMk id="6" creationId="{1C6161F4-11D8-3EE3-D4B6-68C5ACB8D957}"/>
          </ac:spMkLst>
        </pc:spChg>
        <pc:picChg chg="add mod ord">
          <ac:chgData name="Gastgebruiker" userId="" providerId="Windows Live" clId="Web-{6C884AF0-D2CA-8A6B-675B-ED991D24BE6C}" dt="2025-12-19T11:21:41.078" v="154" actId="1076"/>
          <ac:picMkLst>
            <pc:docMk/>
            <pc:sldMk cId="471574877" sldId="291"/>
            <ac:picMk id="5" creationId="{3AF4E2FD-667B-9CD8-B17D-70F14F9D9979}"/>
          </ac:picMkLst>
        </pc:picChg>
        <pc:picChg chg="add del mod">
          <ac:chgData name="Gastgebruiker" userId="" providerId="Windows Live" clId="Web-{6C884AF0-D2CA-8A6B-675B-ED991D24BE6C}" dt="2025-12-19T11:21:11.891" v="148"/>
          <ac:picMkLst>
            <pc:docMk/>
            <pc:sldMk cId="471574877" sldId="291"/>
            <ac:picMk id="7" creationId="{A8E0B625-2FCD-0836-2FAB-739A7F5D541D}"/>
          </ac:picMkLst>
        </pc:picChg>
        <pc:picChg chg="add del mod">
          <ac:chgData name="Gastgebruiker" userId="" providerId="Windows Live" clId="Web-{6C884AF0-D2CA-8A6B-675B-ED991D24BE6C}" dt="2025-12-19T11:21:10.344" v="147"/>
          <ac:picMkLst>
            <pc:docMk/>
            <pc:sldMk cId="471574877" sldId="291"/>
            <ac:picMk id="8" creationId="{C3522095-F4E9-C084-CE6D-0025C033A9D1}"/>
          </ac:picMkLst>
        </pc:picChg>
        <pc:cxnChg chg="add del mod">
          <ac:chgData name="Gastgebruiker" userId="" providerId="Windows Live" clId="Web-{6C884AF0-D2CA-8A6B-675B-ED991D24BE6C}" dt="2025-12-19T11:21:03.297" v="144"/>
          <ac:cxnSpMkLst>
            <pc:docMk/>
            <pc:sldMk cId="471574877" sldId="291"/>
            <ac:cxnSpMk id="9" creationId="{54D74206-BD68-D9A3-ADA1-6A288B90B5B1}"/>
          </ac:cxnSpMkLst>
        </pc:cxnChg>
      </pc:sldChg>
      <pc:sldChg chg="addSp delSp modSp new">
        <pc:chgData name="Gastgebruiker" userId="" providerId="Windows Live" clId="Web-{6C884AF0-D2CA-8A6B-675B-ED991D24BE6C}" dt="2025-12-19T11:22:28.813" v="166" actId="1076"/>
        <pc:sldMkLst>
          <pc:docMk/>
          <pc:sldMk cId="1794644909" sldId="292"/>
        </pc:sldMkLst>
        <pc:spChg chg="del">
          <ac:chgData name="Gastgebruiker" userId="" providerId="Windows Live" clId="Web-{6C884AF0-D2CA-8A6B-675B-ED991D24BE6C}" dt="2025-12-19T11:21:43.531" v="155"/>
          <ac:spMkLst>
            <pc:docMk/>
            <pc:sldMk cId="1794644909" sldId="292"/>
            <ac:spMk id="3" creationId="{6587E8B2-7966-1A1C-EC62-D7E541408859}"/>
          </ac:spMkLst>
        </pc:spChg>
        <pc:spChg chg="del">
          <ac:chgData name="Gastgebruiker" userId="" providerId="Windows Live" clId="Web-{6C884AF0-D2CA-8A6B-675B-ED991D24BE6C}" dt="2025-12-19T11:21:46.531" v="156"/>
          <ac:spMkLst>
            <pc:docMk/>
            <pc:sldMk cId="1794644909" sldId="292"/>
            <ac:spMk id="4" creationId="{F1904037-755C-3FA3-8DAB-80F0994EBF48}"/>
          </ac:spMkLst>
        </pc:spChg>
        <pc:picChg chg="add mod ord">
          <ac:chgData name="Gastgebruiker" userId="" providerId="Windows Live" clId="Web-{6C884AF0-D2CA-8A6B-675B-ED991D24BE6C}" dt="2025-12-19T11:21:58.219" v="163" actId="1076"/>
          <ac:picMkLst>
            <pc:docMk/>
            <pc:sldMk cId="1794644909" sldId="292"/>
            <ac:picMk id="5" creationId="{06F4C0DC-6084-063D-DB32-CDE54650004A}"/>
          </ac:picMkLst>
        </pc:picChg>
        <pc:picChg chg="add mod">
          <ac:chgData name="Gastgebruiker" userId="" providerId="Windows Live" clId="Web-{6C884AF0-D2CA-8A6B-675B-ED991D24BE6C}" dt="2025-12-19T11:22:28.813" v="166" actId="1076"/>
          <ac:picMkLst>
            <pc:docMk/>
            <pc:sldMk cId="1794644909" sldId="292"/>
            <ac:picMk id="6" creationId="{34030DA2-527E-5299-BA10-4FDE2C2DE5DC}"/>
          </ac:picMkLst>
        </pc:picChg>
      </pc:sldChg>
      <pc:sldChg chg="addSp delSp modSp new">
        <pc:chgData name="Gastgebruiker" userId="" providerId="Windows Live" clId="Web-{6C884AF0-D2CA-8A6B-675B-ED991D24BE6C}" dt="2025-12-19T11:25:23.531" v="186" actId="1076"/>
        <pc:sldMkLst>
          <pc:docMk/>
          <pc:sldMk cId="3175787656" sldId="293"/>
        </pc:sldMkLst>
        <pc:spChg chg="del">
          <ac:chgData name="Gastgebruiker" userId="" providerId="Windows Live" clId="Web-{6C884AF0-D2CA-8A6B-675B-ED991D24BE6C}" dt="2025-12-19T11:24:29.859" v="168"/>
          <ac:spMkLst>
            <pc:docMk/>
            <pc:sldMk cId="3175787656" sldId="293"/>
            <ac:spMk id="3" creationId="{F4E4989A-A217-CDF0-1BBE-DFF51F831D96}"/>
          </ac:spMkLst>
        </pc:spChg>
        <pc:spChg chg="del">
          <ac:chgData name="Gastgebruiker" userId="" providerId="Windows Live" clId="Web-{6C884AF0-D2CA-8A6B-675B-ED991D24BE6C}" dt="2025-12-19T11:24:38.797" v="171"/>
          <ac:spMkLst>
            <pc:docMk/>
            <pc:sldMk cId="3175787656" sldId="293"/>
            <ac:spMk id="4" creationId="{BB5488AD-859E-12E0-34B7-404D37292121}"/>
          </ac:spMkLst>
        </pc:spChg>
        <pc:spChg chg="add del mod">
          <ac:chgData name="Gastgebruiker" userId="" providerId="Windows Live" clId="Web-{6C884AF0-D2CA-8A6B-675B-ED991D24BE6C}" dt="2025-12-19T11:24:39.938" v="172"/>
          <ac:spMkLst>
            <pc:docMk/>
            <pc:sldMk cId="3175787656" sldId="293"/>
            <ac:spMk id="7" creationId="{5E2EF2B1-2445-EB45-F13A-FBA103704131}"/>
          </ac:spMkLst>
        </pc:spChg>
        <pc:spChg chg="add mod">
          <ac:chgData name="Gastgebruiker" userId="" providerId="Windows Live" clId="Web-{6C884AF0-D2CA-8A6B-675B-ED991D24BE6C}" dt="2025-12-19T11:25:14.516" v="185" actId="20577"/>
          <ac:spMkLst>
            <pc:docMk/>
            <pc:sldMk cId="3175787656" sldId="293"/>
            <ac:spMk id="9" creationId="{8699F7E3-EAD6-86F1-E7D8-1A59C32F5273}"/>
          </ac:spMkLst>
        </pc:spChg>
        <pc:picChg chg="add del mod ord">
          <ac:chgData name="Gastgebruiker" userId="" providerId="Windows Live" clId="Web-{6C884AF0-D2CA-8A6B-675B-ED991D24BE6C}" dt="2025-12-19T11:24:37.188" v="170"/>
          <ac:picMkLst>
            <pc:docMk/>
            <pc:sldMk cId="3175787656" sldId="293"/>
            <ac:picMk id="5" creationId="{B6374C8C-4F4D-110B-FE4C-C888B7B7AC70}"/>
          </ac:picMkLst>
        </pc:picChg>
        <pc:picChg chg="add mod ord">
          <ac:chgData name="Gastgebruiker" userId="" providerId="Windows Live" clId="Web-{6C884AF0-D2CA-8A6B-675B-ED991D24BE6C}" dt="2025-12-19T11:25:23.531" v="186" actId="1076"/>
          <ac:picMkLst>
            <pc:docMk/>
            <pc:sldMk cId="3175787656" sldId="293"/>
            <ac:picMk id="8" creationId="{D7606515-1C29-2B72-2E7A-4C68D194AE55}"/>
          </ac:picMkLst>
        </pc:picChg>
      </pc:sldChg>
      <pc:sldChg chg="addSp delSp modSp add replId">
        <pc:chgData name="Gastgebruiker" userId="" providerId="Windows Live" clId="Web-{6C884AF0-D2CA-8A6B-675B-ED991D24BE6C}" dt="2025-12-19T11:26:28.563" v="194" actId="1076"/>
        <pc:sldMkLst>
          <pc:docMk/>
          <pc:sldMk cId="4192119184" sldId="294"/>
        </pc:sldMkLst>
        <pc:spChg chg="add del mod">
          <ac:chgData name="Gastgebruiker" userId="" providerId="Windows Live" clId="Web-{6C884AF0-D2CA-8A6B-675B-ED991D24BE6C}" dt="2025-12-19T11:26:21.344" v="190"/>
          <ac:spMkLst>
            <pc:docMk/>
            <pc:sldMk cId="4192119184" sldId="294"/>
            <ac:spMk id="4" creationId="{52AA3817-A0BC-D6AE-D8DE-E79B44589A60}"/>
          </ac:spMkLst>
        </pc:spChg>
        <pc:spChg chg="mod">
          <ac:chgData name="Gastgebruiker" userId="" providerId="Windows Live" clId="Web-{6C884AF0-D2CA-8A6B-675B-ED991D24BE6C}" dt="2025-12-19T11:26:18.188" v="188" actId="20577"/>
          <ac:spMkLst>
            <pc:docMk/>
            <pc:sldMk cId="4192119184" sldId="294"/>
            <ac:spMk id="9" creationId="{594001B3-0722-5393-A667-AA9D6CB1C0FD}"/>
          </ac:spMkLst>
        </pc:spChg>
        <pc:picChg chg="add mod ord">
          <ac:chgData name="Gastgebruiker" userId="" providerId="Windows Live" clId="Web-{6C884AF0-D2CA-8A6B-675B-ED991D24BE6C}" dt="2025-12-19T11:26:28.563" v="194" actId="1076"/>
          <ac:picMkLst>
            <pc:docMk/>
            <pc:sldMk cId="4192119184" sldId="294"/>
            <ac:picMk id="5" creationId="{FCB5F292-C3D9-0A03-C54E-7A259562A029}"/>
          </ac:picMkLst>
        </pc:picChg>
        <pc:picChg chg="del">
          <ac:chgData name="Gastgebruiker" userId="" providerId="Windows Live" clId="Web-{6C884AF0-D2CA-8A6B-675B-ED991D24BE6C}" dt="2025-12-19T11:26:19.547" v="189"/>
          <ac:picMkLst>
            <pc:docMk/>
            <pc:sldMk cId="4192119184" sldId="294"/>
            <ac:picMk id="8" creationId="{64F18234-8B21-1100-571C-468408DEA1BC}"/>
          </ac:picMkLst>
        </pc:picChg>
      </pc:sldChg>
      <pc:sldChg chg="new del">
        <pc:chgData name="Gastgebruiker" userId="" providerId="Windows Live" clId="Web-{6C884AF0-D2CA-8A6B-675B-ED991D24BE6C}" dt="2025-12-19T11:35:57.003" v="498"/>
        <pc:sldMkLst>
          <pc:docMk/>
          <pc:sldMk cId="3211552679" sldId="295"/>
        </pc:sldMkLst>
      </pc:sldChg>
      <pc:sldChg chg="addSp delSp modSp new">
        <pc:chgData name="Gastgebruiker" userId="" providerId="Windows Live" clId="Web-{6C884AF0-D2CA-8A6B-675B-ED991D24BE6C}" dt="2025-12-19T11:27:37.844" v="206" actId="1076"/>
        <pc:sldMkLst>
          <pc:docMk/>
          <pc:sldMk cId="3429591239" sldId="296"/>
        </pc:sldMkLst>
        <pc:spChg chg="del">
          <ac:chgData name="Gastgebruiker" userId="" providerId="Windows Live" clId="Web-{6C884AF0-D2CA-8A6B-675B-ED991D24BE6C}" dt="2025-12-19T11:27:14.438" v="197"/>
          <ac:spMkLst>
            <pc:docMk/>
            <pc:sldMk cId="3429591239" sldId="296"/>
            <ac:spMk id="3" creationId="{BC825146-3C3C-18A0-B354-E83126EDDF0F}"/>
          </ac:spMkLst>
        </pc:spChg>
        <pc:spChg chg="del">
          <ac:chgData name="Gastgebruiker" userId="" providerId="Windows Live" clId="Web-{6C884AF0-D2CA-8A6B-675B-ED991D24BE6C}" dt="2025-12-19T11:27:16.688" v="198"/>
          <ac:spMkLst>
            <pc:docMk/>
            <pc:sldMk cId="3429591239" sldId="296"/>
            <ac:spMk id="4" creationId="{DA233E94-103B-A6F6-870E-30530F331F80}"/>
          </ac:spMkLst>
        </pc:spChg>
        <pc:picChg chg="add mod ord modCrop">
          <ac:chgData name="Gastgebruiker" userId="" providerId="Windows Live" clId="Web-{6C884AF0-D2CA-8A6B-675B-ED991D24BE6C}" dt="2025-12-19T11:27:37.844" v="206" actId="1076"/>
          <ac:picMkLst>
            <pc:docMk/>
            <pc:sldMk cId="3429591239" sldId="296"/>
            <ac:picMk id="5" creationId="{9379BC97-4FDC-7E0A-EB93-EA38C90944DB}"/>
          </ac:picMkLst>
        </pc:picChg>
      </pc:sldChg>
      <pc:sldChg chg="addSp delSp modSp new">
        <pc:chgData name="Gastgebruiker" userId="" providerId="Windows Live" clId="Web-{6C884AF0-D2CA-8A6B-675B-ED991D24BE6C}" dt="2025-12-19T11:29:42.347" v="218" actId="1076"/>
        <pc:sldMkLst>
          <pc:docMk/>
          <pc:sldMk cId="3744722308" sldId="297"/>
        </pc:sldMkLst>
        <pc:spChg chg="del">
          <ac:chgData name="Gastgebruiker" userId="" providerId="Windows Live" clId="Web-{6C884AF0-D2CA-8A6B-675B-ED991D24BE6C}" dt="2025-12-19T11:29:09.800" v="208"/>
          <ac:spMkLst>
            <pc:docMk/>
            <pc:sldMk cId="3744722308" sldId="297"/>
            <ac:spMk id="3" creationId="{16605CF7-99EF-823F-EFE1-BE930F024D94}"/>
          </ac:spMkLst>
        </pc:spChg>
        <pc:spChg chg="del">
          <ac:chgData name="Gastgebruiker" userId="" providerId="Windows Live" clId="Web-{6C884AF0-D2CA-8A6B-675B-ED991D24BE6C}" dt="2025-12-19T11:29:12.363" v="209"/>
          <ac:spMkLst>
            <pc:docMk/>
            <pc:sldMk cId="3744722308" sldId="297"/>
            <ac:spMk id="4" creationId="{2717FC1D-5A7D-8D2E-4CFE-AC1818A088A8}"/>
          </ac:spMkLst>
        </pc:spChg>
        <pc:picChg chg="add mod ord">
          <ac:chgData name="Gastgebruiker" userId="" providerId="Windows Live" clId="Web-{6C884AF0-D2CA-8A6B-675B-ED991D24BE6C}" dt="2025-12-19T11:29:42.347" v="218" actId="1076"/>
          <ac:picMkLst>
            <pc:docMk/>
            <pc:sldMk cId="3744722308" sldId="297"/>
            <ac:picMk id="5" creationId="{50A34AEB-98DD-2E85-9B17-0B74978DC5D7}"/>
          </ac:picMkLst>
        </pc:picChg>
      </pc:sldChg>
      <pc:sldChg chg="addSp delSp modSp add replId">
        <pc:chgData name="Gastgebruiker" userId="" providerId="Windows Live" clId="Web-{6C884AF0-D2CA-8A6B-675B-ED991D24BE6C}" dt="2025-12-19T11:35:42.769" v="497" actId="1076"/>
        <pc:sldMkLst>
          <pc:docMk/>
          <pc:sldMk cId="1183404750" sldId="298"/>
        </pc:sldMkLst>
        <pc:spChg chg="add del mod">
          <ac:chgData name="Gastgebruiker" userId="" providerId="Windows Live" clId="Web-{6C884AF0-D2CA-8A6B-675B-ED991D24BE6C}" dt="2025-12-19T11:31:03.738" v="221"/>
          <ac:spMkLst>
            <pc:docMk/>
            <pc:sldMk cId="1183404750" sldId="298"/>
            <ac:spMk id="4" creationId="{D08ECA08-B9C4-1442-67ED-ABDCA555907D}"/>
          </ac:spMkLst>
        </pc:spChg>
        <pc:spChg chg="add mod">
          <ac:chgData name="Gastgebruiker" userId="" providerId="Windows Live" clId="Web-{6C884AF0-D2CA-8A6B-675B-ED991D24BE6C}" dt="2025-12-19T11:35:42.769" v="497" actId="1076"/>
          <ac:spMkLst>
            <pc:docMk/>
            <pc:sldMk cId="1183404750" sldId="298"/>
            <ac:spMk id="7" creationId="{56F886E2-1C63-8F30-1CCF-EBF79257235B}"/>
          </ac:spMkLst>
        </pc:spChg>
        <pc:spChg chg="add mod">
          <ac:chgData name="Gastgebruiker" userId="" providerId="Windows Live" clId="Web-{6C884AF0-D2CA-8A6B-675B-ED991D24BE6C}" dt="2025-12-19T11:35:28.878" v="495" actId="1076"/>
          <ac:spMkLst>
            <pc:docMk/>
            <pc:sldMk cId="1183404750" sldId="298"/>
            <ac:spMk id="8" creationId="{EE065460-9689-3777-25BB-55A4DF08DC80}"/>
          </ac:spMkLst>
        </pc:spChg>
        <pc:picChg chg="del">
          <ac:chgData name="Gastgebruiker" userId="" providerId="Windows Live" clId="Web-{6C884AF0-D2CA-8A6B-675B-ED991D24BE6C}" dt="2025-12-19T11:31:02.113" v="220"/>
          <ac:picMkLst>
            <pc:docMk/>
            <pc:sldMk cId="1183404750" sldId="298"/>
            <ac:picMk id="5" creationId="{D423FB6D-FE34-EEA4-65EB-6B3653B7DD42}"/>
          </ac:picMkLst>
        </pc:picChg>
        <pc:picChg chg="add mod ord">
          <ac:chgData name="Gastgebruiker" userId="" providerId="Windows Live" clId="Web-{6C884AF0-D2CA-8A6B-675B-ED991D24BE6C}" dt="2025-12-19T11:35:31.660" v="496" actId="1076"/>
          <ac:picMkLst>
            <pc:docMk/>
            <pc:sldMk cId="1183404750" sldId="298"/>
            <ac:picMk id="6" creationId="{5544E0EF-C538-1F01-F08C-174A684CF803}"/>
          </ac:picMkLst>
        </pc:picChg>
      </pc:sldChg>
    </pc:docChg>
  </pc:docChgLst>
  <pc:docChgLst>
    <pc:chgData name="Gastgebruiker" providerId="Windows Live" clId="Web-{AEE44973-3E82-DEBC-0C2B-7CDAE4C3438F}"/>
    <pc:docChg chg="modSld">
      <pc:chgData name="Gastgebruiker" userId="" providerId="Windows Live" clId="Web-{AEE44973-3E82-DEBC-0C2B-7CDAE4C3438F}" dt="2025-12-16T20:08:56.051" v="0" actId="1076"/>
      <pc:docMkLst>
        <pc:docMk/>
      </pc:docMkLst>
      <pc:sldChg chg="modSp">
        <pc:chgData name="Gastgebruiker" userId="" providerId="Windows Live" clId="Web-{AEE44973-3E82-DEBC-0C2B-7CDAE4C3438F}" dt="2025-12-16T20:08:56.051" v="0" actId="1076"/>
        <pc:sldMkLst>
          <pc:docMk/>
          <pc:sldMk cId="1154887423" sldId="279"/>
        </pc:sldMkLst>
        <pc:picChg chg="mod">
          <ac:chgData name="Gastgebruiker" userId="" providerId="Windows Live" clId="Web-{AEE44973-3E82-DEBC-0C2B-7CDAE4C3438F}" dt="2025-12-16T20:08:56.051" v="0" actId="1076"/>
          <ac:picMkLst>
            <pc:docMk/>
            <pc:sldMk cId="1154887423" sldId="279"/>
            <ac:picMk id="5" creationId="{EE873120-9652-CD2E-8F3F-F817542054B0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4198972-73C8-9327-0850-18A64251345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55A2EB-01C3-20E0-FF45-07CCC86724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D1EC30-5B0B-48D0-A1A8-66A96720DF24}" type="datetimeFigureOut">
              <a:rPr lang="en-US" smtClean="0"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C50A84-CDF8-9D1C-7599-D1B543581C0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AAFBD2-1F7B-DB18-5994-6D22C6743F9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8FBFCE-2205-4B9C-81E5-532E0690D8C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7311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F68A4D-42A7-45F7-9930-00E8DCB48D7E}" type="datetimeFigureOut">
              <a:rPr lang="en-US" smtClean="0"/>
              <a:t>12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DD6F49-EBB7-4CCF-97A8-E526BB28BB6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1936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ier </a:t>
            </a:r>
            <a:r>
              <a:rPr lang="en-US" err="1"/>
              <a:t>uitleggen</a:t>
            </a:r>
            <a:r>
              <a:rPr lang="en-US"/>
              <a:t> wat je </a:t>
            </a:r>
            <a:r>
              <a:rPr lang="en-US" err="1"/>
              <a:t>allemaal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r>
              <a:rPr lang="en-US" err="1"/>
              <a:t>doen</a:t>
            </a:r>
            <a:r>
              <a:rPr lang="en-US"/>
              <a:t> </a:t>
            </a:r>
            <a:r>
              <a:rPr lang="en-US">
                <a:sym typeface="Wingdings" panose="05000000000000000000" pitchFamily="2" charset="2"/>
              </a:rPr>
              <a:t> User Stories </a:t>
            </a:r>
            <a:r>
              <a:rPr lang="en-US" err="1">
                <a:sym typeface="Wingdings" panose="05000000000000000000" pitchFamily="2" charset="2"/>
              </a:rPr>
              <a:t>zijn</a:t>
            </a:r>
            <a:r>
              <a:rPr lang="en-US">
                <a:sym typeface="Wingdings" panose="05000000000000000000" pitchFamily="2" charset="2"/>
              </a:rPr>
              <a:t> </a:t>
            </a:r>
            <a:r>
              <a:rPr lang="en-US" err="1">
                <a:sym typeface="Wingdings" panose="05000000000000000000" pitchFamily="2" charset="2"/>
              </a:rPr>
              <a:t>vervuld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DD6F49-EBB7-4CCF-97A8-E526BB28BB6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988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16611C47-FD23-DB44-05A2-E9FA5C0AF0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1112392" y="684369"/>
            <a:ext cx="1094136" cy="32973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4336E9A-8E96-CD8C-7598-F87632CD81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028" y="5109526"/>
            <a:ext cx="10923935" cy="747715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AA6C9C7-A264-237A-7F3C-46E6A7A9646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34028" y="12215"/>
            <a:ext cx="1499574" cy="620712"/>
          </a:xfrm>
        </p:spPr>
        <p:txBody>
          <a:bodyPr/>
          <a:lstStyle/>
          <a:p>
            <a:fld id="{F6DBBB59-6616-794F-B1DC-24A73B0A2B42}" type="datetime1">
              <a:rPr lang="en-US" smtClean="0"/>
              <a:t>12/1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5B8C48-05E9-5280-3F6A-22F8BCBB47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224098" y="12215"/>
            <a:ext cx="3777267" cy="620712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BC820F-C031-6832-5CA0-B972903E0D5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29963" y="12215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DC76B8-60F6-62D3-9F73-E816622030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028" y="5871529"/>
            <a:ext cx="10923935" cy="58147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1AC6E47-82C7-BBE8-C329-45EEADAF41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028" y="620711"/>
            <a:ext cx="10923935" cy="4365714"/>
          </a:xfrm>
          <a:custGeom>
            <a:avLst/>
            <a:gdLst>
              <a:gd name="connsiteX0" fmla="*/ 0 w 10923935"/>
              <a:gd name="connsiteY0" fmla="*/ 0 h 4365714"/>
              <a:gd name="connsiteX1" fmla="*/ 10923935 w 10923935"/>
              <a:gd name="connsiteY1" fmla="*/ 0 h 4365714"/>
              <a:gd name="connsiteX2" fmla="*/ 10923935 w 10923935"/>
              <a:gd name="connsiteY2" fmla="*/ 590024 h 4365714"/>
              <a:gd name="connsiteX3" fmla="*/ 10854449 w 10923935"/>
              <a:gd name="connsiteY3" fmla="*/ 666477 h 4365714"/>
              <a:gd name="connsiteX4" fmla="*/ 10478364 w 10923935"/>
              <a:gd name="connsiteY4" fmla="*/ 1714096 h 4365714"/>
              <a:gd name="connsiteX5" fmla="*/ 10854449 w 10923935"/>
              <a:gd name="connsiteY5" fmla="*/ 2761715 h 4365714"/>
              <a:gd name="connsiteX6" fmla="*/ 10923935 w 10923935"/>
              <a:gd name="connsiteY6" fmla="*/ 2838168 h 4365714"/>
              <a:gd name="connsiteX7" fmla="*/ 10923935 w 10923935"/>
              <a:gd name="connsiteY7" fmla="*/ 4365714 h 4365714"/>
              <a:gd name="connsiteX8" fmla="*/ 0 w 10923935"/>
              <a:gd name="connsiteY8" fmla="*/ 4365714 h 4365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923935" h="4365714">
                <a:moveTo>
                  <a:pt x="0" y="0"/>
                </a:moveTo>
                <a:lnTo>
                  <a:pt x="10923935" y="0"/>
                </a:lnTo>
                <a:lnTo>
                  <a:pt x="10923935" y="590024"/>
                </a:lnTo>
                <a:lnTo>
                  <a:pt x="10854449" y="666477"/>
                </a:lnTo>
                <a:cubicBezTo>
                  <a:pt x="10619501" y="951169"/>
                  <a:pt x="10478364" y="1316150"/>
                  <a:pt x="10478364" y="1714096"/>
                </a:cubicBezTo>
                <a:cubicBezTo>
                  <a:pt x="10478364" y="2112042"/>
                  <a:pt x="10619501" y="2477023"/>
                  <a:pt x="10854449" y="2761715"/>
                </a:cubicBezTo>
                <a:lnTo>
                  <a:pt x="10923935" y="2838168"/>
                </a:lnTo>
                <a:lnTo>
                  <a:pt x="10923935" y="4365714"/>
                </a:lnTo>
                <a:lnTo>
                  <a:pt x="0" y="4365714"/>
                </a:lnTo>
                <a:close/>
              </a:path>
            </a:pathLst>
          </a:custGeom>
          <a:blipFill dpi="0" rotWithShape="1">
            <a:blip r:embed="rId4">
              <a:alphaModFix amt="60000"/>
            </a:blip>
            <a:srcRect/>
            <a:stretch>
              <a:fillRect l="-5874" t="-14218" r="-5875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8190E47-8ECA-FEFE-B132-694A0DDC28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1112392" y="684369"/>
            <a:ext cx="1094136" cy="329739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72CDF722-8006-7272-24D3-C4374135FF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1112392" y="68436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752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4019F8-742E-9EEF-F591-C9666AC32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3095" y="634999"/>
            <a:ext cx="4714867" cy="746760"/>
          </a:xfrm>
        </p:spPr>
        <p:txBody>
          <a:bodyPr anchor="t"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85B48ED-478C-BDC1-D20E-89B0C95ADE9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604" y="634998"/>
            <a:ext cx="5465012" cy="5602289"/>
          </a:xfrm>
          <a:custGeom>
            <a:avLst/>
            <a:gdLst>
              <a:gd name="connsiteX0" fmla="*/ 0 w 5465012"/>
              <a:gd name="connsiteY0" fmla="*/ 0 h 5602289"/>
              <a:gd name="connsiteX1" fmla="*/ 5465012 w 5465012"/>
              <a:gd name="connsiteY1" fmla="*/ 0 h 5602289"/>
              <a:gd name="connsiteX2" fmla="*/ 5465012 w 5465012"/>
              <a:gd name="connsiteY2" fmla="*/ 5602289 h 5602289"/>
              <a:gd name="connsiteX3" fmla="*/ 0 w 5465012"/>
              <a:gd name="connsiteY3" fmla="*/ 5602289 h 5602289"/>
              <a:gd name="connsiteX4" fmla="*/ 0 w 5465012"/>
              <a:gd name="connsiteY4" fmla="*/ 5260978 h 5602289"/>
              <a:gd name="connsiteX5" fmla="*/ 84015 w 5465012"/>
              <a:gd name="connsiteY5" fmla="*/ 5168539 h 5602289"/>
              <a:gd name="connsiteX6" fmla="*/ 460100 w 5465012"/>
              <a:gd name="connsiteY6" fmla="*/ 4120920 h 5602289"/>
              <a:gd name="connsiteX7" fmla="*/ 84015 w 5465012"/>
              <a:gd name="connsiteY7" fmla="*/ 3073301 h 5602289"/>
              <a:gd name="connsiteX8" fmla="*/ 0 w 5465012"/>
              <a:gd name="connsiteY8" fmla="*/ 2980862 h 56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465012" h="5602289">
                <a:moveTo>
                  <a:pt x="0" y="0"/>
                </a:moveTo>
                <a:lnTo>
                  <a:pt x="5465012" y="0"/>
                </a:lnTo>
                <a:lnTo>
                  <a:pt x="5465012" y="5602289"/>
                </a:lnTo>
                <a:lnTo>
                  <a:pt x="0" y="5602289"/>
                </a:lnTo>
                <a:lnTo>
                  <a:pt x="0" y="5260978"/>
                </a:lnTo>
                <a:lnTo>
                  <a:pt x="84015" y="5168539"/>
                </a:lnTo>
                <a:cubicBezTo>
                  <a:pt x="318963" y="4883847"/>
                  <a:pt x="460100" y="4518866"/>
                  <a:pt x="460100" y="4120920"/>
                </a:cubicBezTo>
                <a:cubicBezTo>
                  <a:pt x="460100" y="3722975"/>
                  <a:pt x="318963" y="3357993"/>
                  <a:pt x="84015" y="3073301"/>
                </a:cubicBezTo>
                <a:lnTo>
                  <a:pt x="0" y="2980862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l="-11904" t="-11334" r="-303" b="-11080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8C8B19A-6FC1-2B71-0BFB-9274CBF396B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7999" y="1748476"/>
            <a:ext cx="4699963" cy="4107810"/>
          </a:xfrm>
        </p:spPr>
        <p:txBody>
          <a:bodyPr>
            <a:normAutofit/>
          </a:bodyPr>
          <a:lstStyle>
            <a:lvl1pPr marL="457200" indent="-457200">
              <a:lnSpc>
                <a:spcPct val="90000"/>
              </a:lnSpc>
              <a:buFont typeface="+mj-lt"/>
              <a:buAutoNum type="arabicPeriod"/>
              <a:defRPr sz="1800"/>
            </a:lvl1pPr>
            <a:lvl2pPr marL="571500" indent="-342900">
              <a:lnSpc>
                <a:spcPct val="90000"/>
              </a:lnSpc>
              <a:buFont typeface="+mj-lt"/>
              <a:buAutoNum type="arabicPeriod"/>
              <a:defRPr sz="1800"/>
            </a:lvl2pPr>
            <a:lvl3pPr marL="800100" indent="-342900">
              <a:lnSpc>
                <a:spcPct val="90000"/>
              </a:lnSpc>
              <a:buFont typeface="+mj-lt"/>
              <a:buAutoNum type="arabicPeriod"/>
              <a:defRPr sz="1800"/>
            </a:lvl3pPr>
            <a:lvl4pPr marL="1028700" indent="-342900">
              <a:lnSpc>
                <a:spcPct val="90000"/>
              </a:lnSpc>
              <a:buFont typeface="+mj-lt"/>
              <a:buAutoNum type="arabicPeriod"/>
              <a:defRPr sz="1800"/>
            </a:lvl4pPr>
            <a:lvl5pPr>
              <a:lnSpc>
                <a:spcPct val="90000"/>
              </a:lnSpc>
              <a:buFont typeface="+mj-lt"/>
              <a:buAutoNum type="arabicPeriod"/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100A1B2-AD6B-0AD8-23CB-7082BE561D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C77F2D-39D2-22F7-CF0B-39D63EBF00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0" y="6237288"/>
            <a:ext cx="928064" cy="620712"/>
          </a:xfrm>
        </p:spPr>
        <p:txBody>
          <a:bodyPr/>
          <a:lstStyle/>
          <a:p>
            <a:fld id="{05572CD2-BFD3-8448-8917-159E5D0C05A2}" type="datetime1">
              <a:rPr lang="en-US" smtClean="0"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12CFE6-D05E-5478-B3A4-81DC4DCD7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95593" y="6237288"/>
            <a:ext cx="3205782" cy="620712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6B86D3-24E1-029E-BA22-9F17F9517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12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4019F8-742E-9EEF-F591-C9666AC32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660" y="654240"/>
            <a:ext cx="3774301" cy="746760"/>
          </a:xfrm>
        </p:spPr>
        <p:txBody>
          <a:bodyPr anchor="t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8C8B19A-6FC1-2B71-0BFB-9274CBF396B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795592" y="1748475"/>
            <a:ext cx="3762370" cy="4107811"/>
          </a:xfrm>
        </p:spPr>
        <p:txBody>
          <a:bodyPr>
            <a:normAutofit/>
          </a:bodyPr>
          <a:lstStyle>
            <a:lvl1pPr marL="457200" indent="-457200">
              <a:lnSpc>
                <a:spcPct val="140000"/>
              </a:lnSpc>
              <a:buFont typeface="+mj-lt"/>
              <a:buAutoNum type="arabicPeriod"/>
              <a:defRPr sz="2000" b="1">
                <a:solidFill>
                  <a:schemeClr val="accent1"/>
                </a:solidFill>
              </a:defRPr>
            </a:lvl1pPr>
            <a:lvl2pPr marL="457200" indent="0">
              <a:lnSpc>
                <a:spcPct val="140000"/>
              </a:lnSpc>
              <a:buFont typeface="+mj-lt"/>
              <a:buNone/>
              <a:defRPr sz="2000">
                <a:solidFill>
                  <a:schemeClr val="accent1"/>
                </a:solidFill>
              </a:defRPr>
            </a:lvl2pPr>
            <a:lvl3pPr marL="914400" indent="0">
              <a:lnSpc>
                <a:spcPct val="140000"/>
              </a:lnSpc>
              <a:buFont typeface="+mj-lt"/>
              <a:buNone/>
              <a:defRPr sz="2000">
                <a:solidFill>
                  <a:schemeClr val="accent1"/>
                </a:solidFill>
              </a:defRPr>
            </a:lvl3pPr>
            <a:lvl4pPr marL="1371600" indent="0">
              <a:lnSpc>
                <a:spcPct val="140000"/>
              </a:lnSpc>
              <a:buFont typeface="+mj-lt"/>
              <a:buNone/>
              <a:defRPr sz="2000">
                <a:solidFill>
                  <a:schemeClr val="accent1"/>
                </a:solidFill>
              </a:defRPr>
            </a:lvl4pPr>
            <a:lvl5pPr marL="1828800" indent="0">
              <a:lnSpc>
                <a:spcPct val="140000"/>
              </a:lnSpc>
              <a:buFont typeface="+mj-lt"/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C77F2D-39D2-22F7-CF0B-39D63EBF00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0" y="6237288"/>
            <a:ext cx="928064" cy="62071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9413636-1A06-C24F-9111-094EE03CB84B}" type="datetime1">
              <a:rPr lang="en-US" smtClean="0"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12CFE6-D05E-5478-B3A4-81DC4DCD7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95592" y="6237288"/>
            <a:ext cx="3205779" cy="62071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6B86D3-24E1-029E-BA22-9F17F9517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F583734-2162-546C-6889-AB4BAA3A29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98713" y="0"/>
            <a:ext cx="431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9511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2129475"/>
            <a:ext cx="4719431" cy="2599051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D633F00-464B-3088-812A-40496FD1021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43095" y="2129475"/>
            <a:ext cx="4714867" cy="2599051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5C3E-A01B-5747-9820-A22D97A21573}" type="datetime1">
              <a:rPr lang="en-US" smtClean="0"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2881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2129475"/>
            <a:ext cx="4328499" cy="372776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42D62A0-8127-CE86-0633-0D65E1E136F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48911" y="2129475"/>
            <a:ext cx="5266077" cy="372776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4C09D-8915-734F-8E43-FF864771946F}" type="datetime1">
              <a:rPr lang="en-US" smtClean="0"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1870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7" y="1381759"/>
            <a:ext cx="4328493" cy="4475481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FB4667A-FE47-8556-FD3A-55FDBA801D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48905" y="1381760"/>
            <a:ext cx="6209058" cy="447548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226B7-530E-6044-8027-3A2605A8A002}" type="datetime1">
              <a:rPr lang="en-US" smtClean="0"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098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7" y="1001715"/>
            <a:ext cx="4328500" cy="485552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6F072A2-EBC7-B7EA-DA98-BAC0AA46E7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48911" y="1001714"/>
            <a:ext cx="6209052" cy="485552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79605-F630-3E42-AE6D-DF4C25250507}" type="datetime1">
              <a:rPr lang="en-US" smtClean="0"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37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0" y="1001714"/>
            <a:ext cx="3399383" cy="4855527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C71126E-AEFA-B45A-CD39-AC1315E0333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9788" y="1001714"/>
            <a:ext cx="7138176" cy="485552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C1E20-8BCD-C146-81D4-38E754D51C12}" type="datetime1">
              <a:rPr lang="en-US" smtClean="0"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4913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7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492" y="635000"/>
            <a:ext cx="5652469" cy="746759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C71126E-AEFA-B45A-CD39-AC1315E0333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05493" y="1748476"/>
            <a:ext cx="5652469" cy="4108764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+mn-lt"/>
              </a:defRPr>
            </a:lvl1pPr>
            <a:lvl2pPr>
              <a:defRPr b="0" i="0">
                <a:solidFill>
                  <a:schemeClr val="tx1"/>
                </a:solidFill>
                <a:latin typeface="+mn-lt"/>
              </a:defRPr>
            </a:lvl2pPr>
            <a:lvl3pPr>
              <a:defRPr b="0" i="0">
                <a:solidFill>
                  <a:schemeClr val="tx1"/>
                </a:solidFill>
                <a:latin typeface="+mn-lt"/>
              </a:defRPr>
            </a:lvl3pPr>
            <a:lvl4pPr>
              <a:defRPr b="0" i="0">
                <a:solidFill>
                  <a:schemeClr val="tx1"/>
                </a:solidFill>
                <a:latin typeface="+mn-lt"/>
              </a:defRPr>
            </a:lvl4pPr>
            <a:lvl5pPr>
              <a:defRPr b="0" i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D3A111B-5EAA-7341-A48B-4AF64D37F0EE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03" name="Graphic 102">
            <a:extLst>
              <a:ext uri="{FF2B5EF4-FFF2-40B4-BE49-F238E27FC236}">
                <a16:creationId xmlns:a16="http://schemas.microsoft.com/office/drawing/2014/main" id="{AF9DC207-1245-F373-F162-ABF4FF3F32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5502"/>
          <a:stretch>
            <a:fillRect/>
          </a:stretch>
        </p:blipFill>
        <p:spPr>
          <a:xfrm flipH="1">
            <a:off x="1" y="1788008"/>
            <a:ext cx="4903311" cy="4376406"/>
          </a:xfrm>
          <a:custGeom>
            <a:avLst/>
            <a:gdLst>
              <a:gd name="connsiteX0" fmla="*/ 4903311 w 4903311"/>
              <a:gd name="connsiteY0" fmla="*/ 0 h 4376406"/>
              <a:gd name="connsiteX1" fmla="*/ 0 w 4903311"/>
              <a:gd name="connsiteY1" fmla="*/ 0 h 4376406"/>
              <a:gd name="connsiteX2" fmla="*/ 0 w 4903311"/>
              <a:gd name="connsiteY2" fmla="*/ 4376406 h 4376406"/>
              <a:gd name="connsiteX3" fmla="*/ 4903311 w 4903311"/>
              <a:gd name="connsiteY3" fmla="*/ 4376406 h 4376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03311" h="4376406">
                <a:moveTo>
                  <a:pt x="4903311" y="0"/>
                </a:moveTo>
                <a:lnTo>
                  <a:pt x="0" y="0"/>
                </a:lnTo>
                <a:lnTo>
                  <a:pt x="0" y="4376406"/>
                </a:lnTo>
                <a:lnTo>
                  <a:pt x="4903311" y="437640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66222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30" y="635000"/>
            <a:ext cx="10923933" cy="74675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1F6B327F-976B-5170-4A98-7112B016E9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028" y="1761565"/>
            <a:ext cx="10923935" cy="409472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48910" y="6237288"/>
            <a:ext cx="1499574" cy="620712"/>
          </a:xfrm>
        </p:spPr>
        <p:txBody>
          <a:bodyPr/>
          <a:lstStyle/>
          <a:p>
            <a:fld id="{433C421A-0634-BE48-B165-8DC2169407EC}" type="datetime1">
              <a:rPr lang="en-US" smtClean="0"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ACE0B156-FCC4-15B0-EDFE-3DE561317C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648"/>
          <a:stretch>
            <a:fillRect/>
          </a:stretch>
        </p:blipFill>
        <p:spPr>
          <a:xfrm flipH="1" flipV="1">
            <a:off x="0" y="6241735"/>
            <a:ext cx="4791064" cy="616266"/>
          </a:xfrm>
          <a:custGeom>
            <a:avLst/>
            <a:gdLst>
              <a:gd name="connsiteX0" fmla="*/ 4791064 w 4791064"/>
              <a:gd name="connsiteY0" fmla="*/ 616266 h 616266"/>
              <a:gd name="connsiteX1" fmla="*/ 0 w 4791064"/>
              <a:gd name="connsiteY1" fmla="*/ 616266 h 616266"/>
              <a:gd name="connsiteX2" fmla="*/ 0 w 4791064"/>
              <a:gd name="connsiteY2" fmla="*/ 0 h 616266"/>
              <a:gd name="connsiteX3" fmla="*/ 4791064 w 4791064"/>
              <a:gd name="connsiteY3" fmla="*/ 0 h 616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91064" h="616266">
                <a:moveTo>
                  <a:pt x="4791064" y="616266"/>
                </a:moveTo>
                <a:lnTo>
                  <a:pt x="0" y="616266"/>
                </a:lnTo>
                <a:lnTo>
                  <a:pt x="0" y="0"/>
                </a:lnTo>
                <a:lnTo>
                  <a:pt x="4791064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217696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02" y="635000"/>
            <a:ext cx="5652462" cy="733428"/>
          </a:xfrm>
        </p:spPr>
        <p:txBody>
          <a:bodyPr anchor="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3" name="Picture Placeholder 52" descr="Several people with masks walking around">
            <a:extLst>
              <a:ext uri="{FF2B5EF4-FFF2-40B4-BE49-F238E27FC236}">
                <a16:creationId xmlns:a16="http://schemas.microsoft.com/office/drawing/2014/main" id="{BFB3BD5B-8198-59F6-0219-A25DDB45A9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5454" y="634999"/>
            <a:ext cx="4328496" cy="5588001"/>
          </a:xfrm>
          <a:custGeom>
            <a:avLst/>
            <a:gdLst>
              <a:gd name="connsiteX0" fmla="*/ 0 w 4328496"/>
              <a:gd name="connsiteY0" fmla="*/ 0 h 5588001"/>
              <a:gd name="connsiteX1" fmla="*/ 4328496 w 4328496"/>
              <a:gd name="connsiteY1" fmla="*/ 0 h 5588001"/>
              <a:gd name="connsiteX2" fmla="*/ 4328496 w 4328496"/>
              <a:gd name="connsiteY2" fmla="*/ 5588001 h 5588001"/>
              <a:gd name="connsiteX3" fmla="*/ 0 w 4328496"/>
              <a:gd name="connsiteY3" fmla="*/ 5588001 h 5588001"/>
              <a:gd name="connsiteX4" fmla="*/ 0 w 4328496"/>
              <a:gd name="connsiteY4" fmla="*/ 5288782 h 5588001"/>
              <a:gd name="connsiteX5" fmla="*/ 2037 w 4328496"/>
              <a:gd name="connsiteY5" fmla="*/ 5286930 h 5588001"/>
              <a:gd name="connsiteX6" fmla="*/ 486464 w 4328496"/>
              <a:gd name="connsiteY6" fmla="*/ 4117420 h 5588001"/>
              <a:gd name="connsiteX7" fmla="*/ 2037 w 4328496"/>
              <a:gd name="connsiteY7" fmla="*/ 2947910 h 5588001"/>
              <a:gd name="connsiteX8" fmla="*/ 0 w 4328496"/>
              <a:gd name="connsiteY8" fmla="*/ 2946059 h 558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28496" h="5588001">
                <a:moveTo>
                  <a:pt x="0" y="0"/>
                </a:moveTo>
                <a:lnTo>
                  <a:pt x="4328496" y="0"/>
                </a:lnTo>
                <a:lnTo>
                  <a:pt x="4328496" y="5588001"/>
                </a:lnTo>
                <a:lnTo>
                  <a:pt x="0" y="5588001"/>
                </a:lnTo>
                <a:lnTo>
                  <a:pt x="0" y="5288782"/>
                </a:lnTo>
                <a:lnTo>
                  <a:pt x="2037" y="5286930"/>
                </a:lnTo>
                <a:cubicBezTo>
                  <a:pt x="301341" y="4987626"/>
                  <a:pt x="486464" y="4574142"/>
                  <a:pt x="486464" y="4117420"/>
                </a:cubicBezTo>
                <a:cubicBezTo>
                  <a:pt x="486464" y="3660698"/>
                  <a:pt x="301341" y="3247214"/>
                  <a:pt x="2037" y="2947910"/>
                </a:cubicBezTo>
                <a:lnTo>
                  <a:pt x="0" y="2946059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l="-394" t="-11364" r="-15644" b="-11364"/>
            </a:stretch>
          </a:blipFill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dirty="0"/>
            </a:lvl1pPr>
          </a:lstStyle>
          <a:p>
            <a:pPr marL="0" lvl="0" indent="0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18B74D6-CD72-B859-C229-60DB988B25E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905501" y="1748474"/>
            <a:ext cx="5652462" cy="4108767"/>
          </a:xfrm>
        </p:spPr>
        <p:txBody>
          <a:bodyPr>
            <a:normAutofit/>
          </a:bodyPr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D616745-A57B-4ACD-D68B-FE62834A26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742B5C-5438-96A4-4A2A-AE939906F8A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348911" y="6237288"/>
            <a:ext cx="1051131" cy="620712"/>
          </a:xfrm>
        </p:spPr>
        <p:txBody>
          <a:bodyPr/>
          <a:lstStyle/>
          <a:p>
            <a:fld id="{E3C5FFB9-0DC3-2B48-9463-B067A67E3ADF}" type="datetime1">
              <a:rPr lang="en-US" smtClean="0"/>
              <a:t>12/19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65BFCB1-FAA8-D03A-3B62-DCB2CF1CA1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24098" y="6237288"/>
            <a:ext cx="3390891" cy="620712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A608994-46CD-AAE0-DCC4-A59D26254D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449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635000"/>
            <a:ext cx="10923935" cy="74675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2DD052-3E45-E789-01F8-33250024EC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028" y="1761565"/>
            <a:ext cx="10923935" cy="409472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AFFA3-7AF2-C145-8DE8-B53BDDA151E3}" type="datetime1">
              <a:rPr lang="en-US" smtClean="0"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1953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7" y="634998"/>
            <a:ext cx="6209067" cy="1503377"/>
          </a:xfrm>
        </p:spPr>
        <p:txBody>
          <a:bodyPr anchor="b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7755DB3-9272-8E5E-039F-AC14A2C0789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4028" y="2510477"/>
            <a:ext cx="6209066" cy="334676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81177663-FC76-DF36-EEB7-5BE4C6C82F3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CA96459-E838-8646-A931-ACDFD8BDADD1}" type="datetime1">
              <a:rPr lang="en-US" smtClean="0"/>
              <a:t>12/19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515DEC4-C967-ABFB-73CF-0A90335332A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514605" y="6237288"/>
            <a:ext cx="3385515" cy="620712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5A5085F-BE80-B110-AA1F-9DD0919E27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6291887" y="6237288"/>
            <a:ext cx="551208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10D02F-8887-F500-8C27-E1397CA81D2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00544" y="634998"/>
            <a:ext cx="4157428" cy="5588001"/>
          </a:xfrm>
          <a:custGeom>
            <a:avLst/>
            <a:gdLst>
              <a:gd name="connsiteX0" fmla="*/ 0 w 4157428"/>
              <a:gd name="connsiteY0" fmla="*/ 0 h 5588001"/>
              <a:gd name="connsiteX1" fmla="*/ 4157428 w 4157428"/>
              <a:gd name="connsiteY1" fmla="*/ 0 h 5588001"/>
              <a:gd name="connsiteX2" fmla="*/ 4157428 w 4157428"/>
              <a:gd name="connsiteY2" fmla="*/ 3000317 h 5588001"/>
              <a:gd name="connsiteX3" fmla="*/ 4087934 w 4157428"/>
              <a:gd name="connsiteY3" fmla="*/ 3076780 h 5588001"/>
              <a:gd name="connsiteX4" fmla="*/ 3711848 w 4157428"/>
              <a:gd name="connsiteY4" fmla="*/ 4124399 h 5588001"/>
              <a:gd name="connsiteX5" fmla="*/ 4087934 w 4157428"/>
              <a:gd name="connsiteY5" fmla="*/ 5172018 h 5588001"/>
              <a:gd name="connsiteX6" fmla="*/ 4157428 w 4157428"/>
              <a:gd name="connsiteY6" fmla="*/ 5248481 h 5588001"/>
              <a:gd name="connsiteX7" fmla="*/ 4157428 w 4157428"/>
              <a:gd name="connsiteY7" fmla="*/ 5588001 h 5588001"/>
              <a:gd name="connsiteX8" fmla="*/ 0 w 4157428"/>
              <a:gd name="connsiteY8" fmla="*/ 5588001 h 558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57428" h="5588001">
                <a:moveTo>
                  <a:pt x="0" y="0"/>
                </a:moveTo>
                <a:lnTo>
                  <a:pt x="4157428" y="0"/>
                </a:lnTo>
                <a:lnTo>
                  <a:pt x="4157428" y="3000317"/>
                </a:lnTo>
                <a:lnTo>
                  <a:pt x="4087934" y="3076780"/>
                </a:lnTo>
                <a:cubicBezTo>
                  <a:pt x="3852985" y="3361472"/>
                  <a:pt x="3711848" y="3726454"/>
                  <a:pt x="3711848" y="4124399"/>
                </a:cubicBezTo>
                <a:cubicBezTo>
                  <a:pt x="3711848" y="4522345"/>
                  <a:pt x="3852985" y="4887326"/>
                  <a:pt x="4087934" y="5172018"/>
                </a:cubicBezTo>
                <a:lnTo>
                  <a:pt x="4157428" y="5248481"/>
                </a:lnTo>
                <a:lnTo>
                  <a:pt x="4157428" y="5588001"/>
                </a:lnTo>
                <a:lnTo>
                  <a:pt x="0" y="5588001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l="-394" t="-11364" r="-15644" b="-1136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388173A-F9A7-63D1-B4B1-B89617F900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1112392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8193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5736" y="634999"/>
            <a:ext cx="6812227" cy="1136662"/>
          </a:xfrm>
        </p:spPr>
        <p:txBody>
          <a:bodyPr anchor="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6FD17FF-728F-5726-43E5-A768C3773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036" y="634999"/>
            <a:ext cx="3389323" cy="5602289"/>
          </a:xfrm>
          <a:custGeom>
            <a:avLst/>
            <a:gdLst>
              <a:gd name="connsiteX0" fmla="*/ 0 w 3389323"/>
              <a:gd name="connsiteY0" fmla="*/ 0 h 5602289"/>
              <a:gd name="connsiteX1" fmla="*/ 3389323 w 3389323"/>
              <a:gd name="connsiteY1" fmla="*/ 0 h 5602289"/>
              <a:gd name="connsiteX2" fmla="*/ 3389323 w 3389323"/>
              <a:gd name="connsiteY2" fmla="*/ 5602289 h 5602289"/>
              <a:gd name="connsiteX3" fmla="*/ 0 w 3389323"/>
              <a:gd name="connsiteY3" fmla="*/ 5602289 h 5602289"/>
              <a:gd name="connsiteX4" fmla="*/ 0 w 3389323"/>
              <a:gd name="connsiteY4" fmla="*/ 5260977 h 5602289"/>
              <a:gd name="connsiteX5" fmla="*/ 84015 w 3389323"/>
              <a:gd name="connsiteY5" fmla="*/ 5168538 h 5602289"/>
              <a:gd name="connsiteX6" fmla="*/ 460100 w 3389323"/>
              <a:gd name="connsiteY6" fmla="*/ 4120919 h 5602289"/>
              <a:gd name="connsiteX7" fmla="*/ 84015 w 3389323"/>
              <a:gd name="connsiteY7" fmla="*/ 3073300 h 5602289"/>
              <a:gd name="connsiteX8" fmla="*/ 0 w 3389323"/>
              <a:gd name="connsiteY8" fmla="*/ 2980861 h 56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89323" h="5602289">
                <a:moveTo>
                  <a:pt x="0" y="0"/>
                </a:moveTo>
                <a:lnTo>
                  <a:pt x="3389323" y="0"/>
                </a:lnTo>
                <a:lnTo>
                  <a:pt x="3389323" y="5602289"/>
                </a:lnTo>
                <a:lnTo>
                  <a:pt x="0" y="5602289"/>
                </a:lnTo>
                <a:lnTo>
                  <a:pt x="0" y="5260977"/>
                </a:lnTo>
                <a:lnTo>
                  <a:pt x="84015" y="5168538"/>
                </a:lnTo>
                <a:cubicBezTo>
                  <a:pt x="318963" y="4883846"/>
                  <a:pt x="460100" y="4518865"/>
                  <a:pt x="460100" y="4120919"/>
                </a:cubicBezTo>
                <a:cubicBezTo>
                  <a:pt x="460100" y="3722974"/>
                  <a:pt x="318963" y="3357992"/>
                  <a:pt x="84015" y="3073300"/>
                </a:cubicBezTo>
                <a:lnTo>
                  <a:pt x="0" y="2980861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l="-18705" t="-11334" r="-2" b="-11080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18B74D6-CD72-B859-C229-60DB988B25E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45736" y="2128521"/>
            <a:ext cx="6812227" cy="372871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0BFB53A-8FDF-F131-DCF2-D7BECE95381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45736" y="6251576"/>
            <a:ext cx="1154384" cy="620711"/>
          </a:xfrm>
        </p:spPr>
        <p:txBody>
          <a:bodyPr/>
          <a:lstStyle/>
          <a:p>
            <a:fld id="{4C09C8D8-3638-B54E-B13C-9FC33C36B39E}" type="datetime1">
              <a:rPr lang="en-US" smtClean="0"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46E4B5-B423-4137-0255-D68BAC85BE9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FEC5A8-0DCB-9EEB-83E2-0411804C543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CC6FC9B-FE5B-88C4-534F-82F52FEA79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097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7" y="635000"/>
            <a:ext cx="7152042" cy="746759"/>
          </a:xfrm>
        </p:spPr>
        <p:txBody>
          <a:bodyPr anchor="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7755DB3-9272-8E5E-039F-AC14A2C0789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4026" y="1762759"/>
            <a:ext cx="7152043" cy="409448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3CAD5B-18BB-E21E-3A4C-7BAACB851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4193311-8D96-4D41-863A-523563DF56FD}" type="datetime1">
              <a:rPr lang="en-US" smtClean="0"/>
              <a:t>12/19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20916D3-99FA-E971-607F-14E290E5885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552" y="6237288"/>
            <a:ext cx="2818160" cy="635953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BDEAB8E-8806-A459-E320-4CA2B455BF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7224096" y="6237288"/>
            <a:ext cx="561973" cy="635953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F33DD16-D93D-295B-880C-56770D4B6A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91733" y="634999"/>
            <a:ext cx="3466240" cy="5588002"/>
          </a:xfrm>
          <a:custGeom>
            <a:avLst/>
            <a:gdLst>
              <a:gd name="connsiteX0" fmla="*/ 0 w 3466240"/>
              <a:gd name="connsiteY0" fmla="*/ 0 h 5588002"/>
              <a:gd name="connsiteX1" fmla="*/ 3466240 w 3466240"/>
              <a:gd name="connsiteY1" fmla="*/ 0 h 5588002"/>
              <a:gd name="connsiteX2" fmla="*/ 3466240 w 3466240"/>
              <a:gd name="connsiteY2" fmla="*/ 3000315 h 5588002"/>
              <a:gd name="connsiteX3" fmla="*/ 3396745 w 3466240"/>
              <a:gd name="connsiteY3" fmla="*/ 3076779 h 5588002"/>
              <a:gd name="connsiteX4" fmla="*/ 3020659 w 3466240"/>
              <a:gd name="connsiteY4" fmla="*/ 4124398 h 5588002"/>
              <a:gd name="connsiteX5" fmla="*/ 3396745 w 3466240"/>
              <a:gd name="connsiteY5" fmla="*/ 5172017 h 5588002"/>
              <a:gd name="connsiteX6" fmla="*/ 3466240 w 3466240"/>
              <a:gd name="connsiteY6" fmla="*/ 5248481 h 5588002"/>
              <a:gd name="connsiteX7" fmla="*/ 3466240 w 3466240"/>
              <a:gd name="connsiteY7" fmla="*/ 5588002 h 5588002"/>
              <a:gd name="connsiteX8" fmla="*/ 0 w 3466240"/>
              <a:gd name="connsiteY8" fmla="*/ 5588002 h 558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6240" h="5588002">
                <a:moveTo>
                  <a:pt x="0" y="0"/>
                </a:moveTo>
                <a:lnTo>
                  <a:pt x="3466240" y="0"/>
                </a:lnTo>
                <a:lnTo>
                  <a:pt x="3466240" y="3000315"/>
                </a:lnTo>
                <a:lnTo>
                  <a:pt x="3396745" y="3076779"/>
                </a:lnTo>
                <a:cubicBezTo>
                  <a:pt x="3161796" y="3361471"/>
                  <a:pt x="3020659" y="3726453"/>
                  <a:pt x="3020659" y="4124398"/>
                </a:cubicBezTo>
                <a:cubicBezTo>
                  <a:pt x="3020659" y="4522344"/>
                  <a:pt x="3161796" y="4887325"/>
                  <a:pt x="3396745" y="5172017"/>
                </a:cubicBezTo>
                <a:lnTo>
                  <a:pt x="3466240" y="5248481"/>
                </a:lnTo>
                <a:lnTo>
                  <a:pt x="3466240" y="5588002"/>
                </a:lnTo>
                <a:lnTo>
                  <a:pt x="0" y="5588002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11363" r="-18291" b="-11363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9449D72-9BAF-C34D-A135-AAB55ABECD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1112392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373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3746" y="620713"/>
            <a:ext cx="4304217" cy="1127762"/>
          </a:xfrm>
        </p:spPr>
        <p:txBody>
          <a:bodyPr anchor="b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542B9F5-60D3-9580-D728-4F3607CBC6C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036" y="620712"/>
            <a:ext cx="5977473" cy="5602289"/>
          </a:xfrm>
          <a:custGeom>
            <a:avLst/>
            <a:gdLst>
              <a:gd name="connsiteX0" fmla="*/ 0 w 5977473"/>
              <a:gd name="connsiteY0" fmla="*/ 0 h 5602289"/>
              <a:gd name="connsiteX1" fmla="*/ 5977473 w 5977473"/>
              <a:gd name="connsiteY1" fmla="*/ 0 h 5602289"/>
              <a:gd name="connsiteX2" fmla="*/ 5977473 w 5977473"/>
              <a:gd name="connsiteY2" fmla="*/ 5602289 h 5602289"/>
              <a:gd name="connsiteX3" fmla="*/ 0 w 5977473"/>
              <a:gd name="connsiteY3" fmla="*/ 5602289 h 5602289"/>
              <a:gd name="connsiteX4" fmla="*/ 0 w 5977473"/>
              <a:gd name="connsiteY4" fmla="*/ 5275264 h 5602289"/>
              <a:gd name="connsiteX5" fmla="*/ 84015 w 5977473"/>
              <a:gd name="connsiteY5" fmla="*/ 5182825 h 5602289"/>
              <a:gd name="connsiteX6" fmla="*/ 460100 w 5977473"/>
              <a:gd name="connsiteY6" fmla="*/ 4135206 h 5602289"/>
              <a:gd name="connsiteX7" fmla="*/ 84015 w 5977473"/>
              <a:gd name="connsiteY7" fmla="*/ 3087587 h 5602289"/>
              <a:gd name="connsiteX8" fmla="*/ 0 w 5977473"/>
              <a:gd name="connsiteY8" fmla="*/ 2995148 h 56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77473" h="5602289">
                <a:moveTo>
                  <a:pt x="0" y="0"/>
                </a:moveTo>
                <a:lnTo>
                  <a:pt x="5977473" y="0"/>
                </a:lnTo>
                <a:lnTo>
                  <a:pt x="5977473" y="5602289"/>
                </a:lnTo>
                <a:lnTo>
                  <a:pt x="0" y="5602289"/>
                </a:lnTo>
                <a:lnTo>
                  <a:pt x="0" y="5275264"/>
                </a:lnTo>
                <a:lnTo>
                  <a:pt x="84015" y="5182825"/>
                </a:lnTo>
                <a:cubicBezTo>
                  <a:pt x="318963" y="4898133"/>
                  <a:pt x="460100" y="4533152"/>
                  <a:pt x="460100" y="4135206"/>
                </a:cubicBezTo>
                <a:cubicBezTo>
                  <a:pt x="460100" y="3737261"/>
                  <a:pt x="318963" y="3372279"/>
                  <a:pt x="84015" y="3087587"/>
                </a:cubicBezTo>
                <a:lnTo>
                  <a:pt x="0" y="2995148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l="-10630" t="-11080" r="-22" b="-11335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FF0220E-48F8-B4D9-19DE-7B457C3C22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53745" y="2129474"/>
            <a:ext cx="4304217" cy="372776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9C55C0D-795E-F96D-F73C-EEA4F7B1D4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253745" y="6237289"/>
            <a:ext cx="918695" cy="620711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fld id="{065FABC5-9903-A044-B243-C52D3B7ABF9F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72447" y="6237288"/>
            <a:ext cx="2442542" cy="620712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6446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06" y="634998"/>
            <a:ext cx="4725190" cy="1492253"/>
          </a:xfrm>
        </p:spPr>
        <p:txBody>
          <a:bodyPr anchor="b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7AED59-1A26-9C13-8482-7857E7DEFE5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3906" y="2508251"/>
            <a:ext cx="4724420" cy="334803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3906" y="6223000"/>
            <a:ext cx="943099" cy="62179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6CDD10E-B7EF-C741-8306-B0D5E501D431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83027" y="6223000"/>
            <a:ext cx="2959845" cy="621792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6490" y="6223000"/>
            <a:ext cx="556591" cy="6217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067FCE8-45EA-9661-123F-F61E613A72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45480" y="634998"/>
            <a:ext cx="5812492" cy="5588001"/>
          </a:xfrm>
          <a:custGeom>
            <a:avLst/>
            <a:gdLst>
              <a:gd name="connsiteX0" fmla="*/ 0 w 5812492"/>
              <a:gd name="connsiteY0" fmla="*/ 0 h 5588001"/>
              <a:gd name="connsiteX1" fmla="*/ 5812492 w 5812492"/>
              <a:gd name="connsiteY1" fmla="*/ 0 h 5588001"/>
              <a:gd name="connsiteX2" fmla="*/ 5812492 w 5812492"/>
              <a:gd name="connsiteY2" fmla="*/ 3000317 h 5588001"/>
              <a:gd name="connsiteX3" fmla="*/ 5742998 w 5812492"/>
              <a:gd name="connsiteY3" fmla="*/ 3076780 h 5588001"/>
              <a:gd name="connsiteX4" fmla="*/ 5366912 w 5812492"/>
              <a:gd name="connsiteY4" fmla="*/ 4124399 h 5588001"/>
              <a:gd name="connsiteX5" fmla="*/ 5742998 w 5812492"/>
              <a:gd name="connsiteY5" fmla="*/ 5172018 h 5588001"/>
              <a:gd name="connsiteX6" fmla="*/ 5812492 w 5812492"/>
              <a:gd name="connsiteY6" fmla="*/ 5248481 h 5588001"/>
              <a:gd name="connsiteX7" fmla="*/ 5812492 w 5812492"/>
              <a:gd name="connsiteY7" fmla="*/ 5588001 h 5588001"/>
              <a:gd name="connsiteX8" fmla="*/ 0 w 5812492"/>
              <a:gd name="connsiteY8" fmla="*/ 5588001 h 558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12492" h="5588001">
                <a:moveTo>
                  <a:pt x="0" y="0"/>
                </a:moveTo>
                <a:lnTo>
                  <a:pt x="5812492" y="0"/>
                </a:lnTo>
                <a:lnTo>
                  <a:pt x="5812492" y="3000317"/>
                </a:lnTo>
                <a:lnTo>
                  <a:pt x="5742998" y="3076780"/>
                </a:lnTo>
                <a:cubicBezTo>
                  <a:pt x="5508049" y="3361472"/>
                  <a:pt x="5366912" y="3726454"/>
                  <a:pt x="5366912" y="4124399"/>
                </a:cubicBezTo>
                <a:cubicBezTo>
                  <a:pt x="5366912" y="4522345"/>
                  <a:pt x="5508049" y="4887326"/>
                  <a:pt x="5742998" y="5172018"/>
                </a:cubicBezTo>
                <a:lnTo>
                  <a:pt x="5812492" y="5248481"/>
                </a:lnTo>
                <a:lnTo>
                  <a:pt x="5812492" y="5588001"/>
                </a:lnTo>
                <a:lnTo>
                  <a:pt x="0" y="5588001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11364" r="-10908" b="-1136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2BB69ED-672E-99B7-9368-39867464A1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1112392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9832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4035" y="620712"/>
            <a:ext cx="4343792" cy="1503377"/>
          </a:xfrm>
        </p:spPr>
        <p:txBody>
          <a:bodyPr anchor="t"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7DCBDC4-2103-84FD-0F11-14E99F5114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035" y="620712"/>
            <a:ext cx="5858205" cy="5602289"/>
          </a:xfrm>
          <a:custGeom>
            <a:avLst/>
            <a:gdLst>
              <a:gd name="connsiteX0" fmla="*/ 0 w 5858205"/>
              <a:gd name="connsiteY0" fmla="*/ 0 h 5602289"/>
              <a:gd name="connsiteX1" fmla="*/ 5858205 w 5858205"/>
              <a:gd name="connsiteY1" fmla="*/ 0 h 5602289"/>
              <a:gd name="connsiteX2" fmla="*/ 5858205 w 5858205"/>
              <a:gd name="connsiteY2" fmla="*/ 5602289 h 5602289"/>
              <a:gd name="connsiteX3" fmla="*/ 0 w 5858205"/>
              <a:gd name="connsiteY3" fmla="*/ 5602289 h 5602289"/>
              <a:gd name="connsiteX4" fmla="*/ 0 w 5858205"/>
              <a:gd name="connsiteY4" fmla="*/ 5275265 h 5602289"/>
              <a:gd name="connsiteX5" fmla="*/ 84016 w 5858205"/>
              <a:gd name="connsiteY5" fmla="*/ 5182825 h 5602289"/>
              <a:gd name="connsiteX6" fmla="*/ 460101 w 5858205"/>
              <a:gd name="connsiteY6" fmla="*/ 4135206 h 5602289"/>
              <a:gd name="connsiteX7" fmla="*/ 84016 w 5858205"/>
              <a:gd name="connsiteY7" fmla="*/ 3087587 h 5602289"/>
              <a:gd name="connsiteX8" fmla="*/ 0 w 5858205"/>
              <a:gd name="connsiteY8" fmla="*/ 2995147 h 56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58205" h="5602289">
                <a:moveTo>
                  <a:pt x="0" y="0"/>
                </a:moveTo>
                <a:lnTo>
                  <a:pt x="5858205" y="0"/>
                </a:lnTo>
                <a:lnTo>
                  <a:pt x="5858205" y="5602289"/>
                </a:lnTo>
                <a:lnTo>
                  <a:pt x="0" y="5602289"/>
                </a:lnTo>
                <a:lnTo>
                  <a:pt x="0" y="5275265"/>
                </a:lnTo>
                <a:lnTo>
                  <a:pt x="84016" y="5182825"/>
                </a:lnTo>
                <a:cubicBezTo>
                  <a:pt x="318964" y="4898133"/>
                  <a:pt x="460101" y="4533152"/>
                  <a:pt x="460101" y="4135206"/>
                </a:cubicBezTo>
                <a:cubicBezTo>
                  <a:pt x="460101" y="3737261"/>
                  <a:pt x="318964" y="3372279"/>
                  <a:pt x="84016" y="3087587"/>
                </a:cubicBezTo>
                <a:lnTo>
                  <a:pt x="0" y="2995147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l="-10824" t="-11080" b="-11335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FF0220E-48F8-B4D9-19DE-7B457C3C22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24097" y="2496190"/>
            <a:ext cx="4333866" cy="334676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214034" y="6223001"/>
            <a:ext cx="856539" cy="635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fld id="{FD88AF8A-3415-CF45-A909-C4A340521A1D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70573" y="6237288"/>
            <a:ext cx="2544416" cy="620712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2BB076C-C3F9-70E9-1124-3D8E7E33FD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357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30" y="634998"/>
            <a:ext cx="4714754" cy="1489091"/>
          </a:xfrm>
        </p:spPr>
        <p:txBody>
          <a:bodyPr anchor="t"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7AED59-1A26-9C13-8482-7857E7DEFE5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4156" y="2496190"/>
            <a:ext cx="4714754" cy="346126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4031" y="6242811"/>
            <a:ext cx="775221" cy="621792"/>
          </a:xfrm>
        </p:spPr>
        <p:txBody>
          <a:bodyPr/>
          <a:lstStyle/>
          <a:p>
            <a:fld id="{7D2B2E66-61E1-1641-BAA3-4DBE89AE4A0B}" type="datetime1">
              <a:rPr lang="en-US" smtClean="0"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21471" y="6242811"/>
            <a:ext cx="3116020" cy="621792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23874" y="6242811"/>
            <a:ext cx="429207" cy="6217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9C62840-E00E-14D1-817C-DE4271E903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17721" y="634998"/>
            <a:ext cx="5640124" cy="5588001"/>
          </a:xfrm>
          <a:custGeom>
            <a:avLst/>
            <a:gdLst>
              <a:gd name="connsiteX0" fmla="*/ 0 w 5640124"/>
              <a:gd name="connsiteY0" fmla="*/ 0 h 5588001"/>
              <a:gd name="connsiteX1" fmla="*/ 5640124 w 5640124"/>
              <a:gd name="connsiteY1" fmla="*/ 0 h 5588001"/>
              <a:gd name="connsiteX2" fmla="*/ 5640124 w 5640124"/>
              <a:gd name="connsiteY2" fmla="*/ 3000457 h 5588001"/>
              <a:gd name="connsiteX3" fmla="*/ 5570757 w 5640124"/>
              <a:gd name="connsiteY3" fmla="*/ 3076780 h 5588001"/>
              <a:gd name="connsiteX4" fmla="*/ 5194671 w 5640124"/>
              <a:gd name="connsiteY4" fmla="*/ 4124399 h 5588001"/>
              <a:gd name="connsiteX5" fmla="*/ 5570757 w 5640124"/>
              <a:gd name="connsiteY5" fmla="*/ 5172018 h 5588001"/>
              <a:gd name="connsiteX6" fmla="*/ 5640124 w 5640124"/>
              <a:gd name="connsiteY6" fmla="*/ 5248341 h 5588001"/>
              <a:gd name="connsiteX7" fmla="*/ 5640124 w 5640124"/>
              <a:gd name="connsiteY7" fmla="*/ 5588001 h 5588001"/>
              <a:gd name="connsiteX8" fmla="*/ 0 w 5640124"/>
              <a:gd name="connsiteY8" fmla="*/ 5588001 h 558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40124" h="5588001">
                <a:moveTo>
                  <a:pt x="0" y="0"/>
                </a:moveTo>
                <a:lnTo>
                  <a:pt x="5640124" y="0"/>
                </a:lnTo>
                <a:lnTo>
                  <a:pt x="5640124" y="3000457"/>
                </a:lnTo>
                <a:lnTo>
                  <a:pt x="5570757" y="3076780"/>
                </a:lnTo>
                <a:cubicBezTo>
                  <a:pt x="5335808" y="3361472"/>
                  <a:pt x="5194671" y="3726454"/>
                  <a:pt x="5194671" y="4124399"/>
                </a:cubicBezTo>
                <a:cubicBezTo>
                  <a:pt x="5194671" y="4522345"/>
                  <a:pt x="5335808" y="4887326"/>
                  <a:pt x="5570757" y="5172018"/>
                </a:cubicBezTo>
                <a:lnTo>
                  <a:pt x="5640124" y="5248341"/>
                </a:lnTo>
                <a:lnTo>
                  <a:pt x="5640124" y="5588001"/>
                </a:lnTo>
                <a:lnTo>
                  <a:pt x="0" y="5588001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11364" r="-11244" b="-1136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1442941-B65E-2D71-B86D-114F2619F7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1112392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3261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2327" y="634998"/>
            <a:ext cx="3385509" cy="1494477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D1A2A1B-23B1-58B8-87D0-86B4456C55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036" y="634998"/>
            <a:ext cx="6950108" cy="5588003"/>
          </a:xfrm>
          <a:custGeom>
            <a:avLst/>
            <a:gdLst>
              <a:gd name="connsiteX0" fmla="*/ 0 w 6950108"/>
              <a:gd name="connsiteY0" fmla="*/ 0 h 5588003"/>
              <a:gd name="connsiteX1" fmla="*/ 6950108 w 6950108"/>
              <a:gd name="connsiteY1" fmla="*/ 0 h 5588003"/>
              <a:gd name="connsiteX2" fmla="*/ 6950108 w 6950108"/>
              <a:gd name="connsiteY2" fmla="*/ 5588003 h 5588003"/>
              <a:gd name="connsiteX3" fmla="*/ 0 w 6950108"/>
              <a:gd name="connsiteY3" fmla="*/ 5588003 h 5588003"/>
              <a:gd name="connsiteX4" fmla="*/ 0 w 6950108"/>
              <a:gd name="connsiteY4" fmla="*/ 5260978 h 5588003"/>
              <a:gd name="connsiteX5" fmla="*/ 84015 w 6950108"/>
              <a:gd name="connsiteY5" fmla="*/ 5168539 h 5588003"/>
              <a:gd name="connsiteX6" fmla="*/ 460100 w 6950108"/>
              <a:gd name="connsiteY6" fmla="*/ 4120920 h 5588003"/>
              <a:gd name="connsiteX7" fmla="*/ 84015 w 6950108"/>
              <a:gd name="connsiteY7" fmla="*/ 3073301 h 5588003"/>
              <a:gd name="connsiteX8" fmla="*/ 0 w 6950108"/>
              <a:gd name="connsiteY8" fmla="*/ 2980862 h 558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50108" h="5588003">
                <a:moveTo>
                  <a:pt x="0" y="0"/>
                </a:moveTo>
                <a:lnTo>
                  <a:pt x="6950108" y="0"/>
                </a:lnTo>
                <a:lnTo>
                  <a:pt x="6950108" y="5588003"/>
                </a:lnTo>
                <a:lnTo>
                  <a:pt x="0" y="5588003"/>
                </a:lnTo>
                <a:lnTo>
                  <a:pt x="0" y="5260978"/>
                </a:lnTo>
                <a:lnTo>
                  <a:pt x="84015" y="5168539"/>
                </a:lnTo>
                <a:cubicBezTo>
                  <a:pt x="318963" y="4883847"/>
                  <a:pt x="460100" y="4518866"/>
                  <a:pt x="460100" y="4120920"/>
                </a:cubicBezTo>
                <a:cubicBezTo>
                  <a:pt x="460100" y="3722975"/>
                  <a:pt x="318963" y="3357993"/>
                  <a:pt x="84015" y="3073301"/>
                </a:cubicBezTo>
                <a:lnTo>
                  <a:pt x="0" y="2980862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l="-9122" t="-11363" r="-1" b="-11363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7AED59-1A26-9C13-8482-7857E7DEFE5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2454" y="2495233"/>
            <a:ext cx="3385509" cy="336200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305F20-8340-4F06-2EA5-4D05FFED458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8212663" y="6235718"/>
            <a:ext cx="778810" cy="622282"/>
          </a:xfrm>
        </p:spPr>
        <p:txBody>
          <a:bodyPr/>
          <a:lstStyle/>
          <a:p>
            <a:fld id="{54B0D191-B6CC-AE49-BD9B-ECD244DC868B}" type="datetime1">
              <a:rPr lang="en-US" smtClean="0"/>
              <a:t>12/19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9198F5-FF38-389C-E060-120AC63018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991473" y="6235718"/>
            <a:ext cx="2009893" cy="622282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963CA08-6B63-DC1E-8CB3-C323C904012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AD9E0BD-43AD-F2BF-97CA-C65ECDDC6F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2993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9" y="634998"/>
            <a:ext cx="3755603" cy="1502297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7AED59-1A26-9C13-8482-7857E7DEFE5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4156" y="2509397"/>
            <a:ext cx="3755475" cy="334784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7566" y="6236208"/>
            <a:ext cx="922601" cy="621792"/>
          </a:xfrm>
        </p:spPr>
        <p:txBody>
          <a:bodyPr/>
          <a:lstStyle/>
          <a:p>
            <a:fld id="{77080BAB-4D3A-D34D-98D8-D61BC6FBA067}" type="datetime1">
              <a:rPr lang="en-US" smtClean="0"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46470" y="6236208"/>
            <a:ext cx="2225437" cy="621792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60426" y="6236208"/>
            <a:ext cx="429207" cy="6217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9BA70F3-1C57-2745-6AB4-952B6A6DD0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61781" y="634998"/>
            <a:ext cx="6796064" cy="5588001"/>
          </a:xfrm>
          <a:custGeom>
            <a:avLst/>
            <a:gdLst>
              <a:gd name="connsiteX0" fmla="*/ 0 w 6796064"/>
              <a:gd name="connsiteY0" fmla="*/ 0 h 5588001"/>
              <a:gd name="connsiteX1" fmla="*/ 6796064 w 6796064"/>
              <a:gd name="connsiteY1" fmla="*/ 0 h 5588001"/>
              <a:gd name="connsiteX2" fmla="*/ 6796064 w 6796064"/>
              <a:gd name="connsiteY2" fmla="*/ 3000457 h 5588001"/>
              <a:gd name="connsiteX3" fmla="*/ 6726696 w 6796064"/>
              <a:gd name="connsiteY3" fmla="*/ 3076780 h 5588001"/>
              <a:gd name="connsiteX4" fmla="*/ 6350611 w 6796064"/>
              <a:gd name="connsiteY4" fmla="*/ 4124399 h 5588001"/>
              <a:gd name="connsiteX5" fmla="*/ 6726696 w 6796064"/>
              <a:gd name="connsiteY5" fmla="*/ 5172018 h 5588001"/>
              <a:gd name="connsiteX6" fmla="*/ 6796064 w 6796064"/>
              <a:gd name="connsiteY6" fmla="*/ 5248342 h 5588001"/>
              <a:gd name="connsiteX7" fmla="*/ 6796064 w 6796064"/>
              <a:gd name="connsiteY7" fmla="*/ 5588001 h 5588001"/>
              <a:gd name="connsiteX8" fmla="*/ 0 w 6796064"/>
              <a:gd name="connsiteY8" fmla="*/ 5588001 h 558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96064" h="5588001">
                <a:moveTo>
                  <a:pt x="0" y="0"/>
                </a:moveTo>
                <a:lnTo>
                  <a:pt x="6796064" y="0"/>
                </a:lnTo>
                <a:lnTo>
                  <a:pt x="6796064" y="3000457"/>
                </a:lnTo>
                <a:lnTo>
                  <a:pt x="6726696" y="3076780"/>
                </a:lnTo>
                <a:cubicBezTo>
                  <a:pt x="6491748" y="3361472"/>
                  <a:pt x="6350611" y="3726454"/>
                  <a:pt x="6350611" y="4124399"/>
                </a:cubicBezTo>
                <a:cubicBezTo>
                  <a:pt x="6350611" y="4522345"/>
                  <a:pt x="6491748" y="4887326"/>
                  <a:pt x="6726696" y="5172018"/>
                </a:cubicBezTo>
                <a:lnTo>
                  <a:pt x="6796064" y="5248342"/>
                </a:lnTo>
                <a:lnTo>
                  <a:pt x="6796064" y="5588001"/>
                </a:lnTo>
                <a:lnTo>
                  <a:pt x="0" y="5588001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l="-3" t="-11364" r="-9328" b="-1136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E4048AF-04BF-8191-1A91-BE358006E3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1112392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4675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2454" y="634999"/>
            <a:ext cx="3385509" cy="1122376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FB639DA-718D-B1D5-628D-31C9FD58DE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5454" y="634999"/>
            <a:ext cx="7175911" cy="5588002"/>
          </a:xfrm>
          <a:custGeom>
            <a:avLst/>
            <a:gdLst>
              <a:gd name="connsiteX0" fmla="*/ 0 w 7175911"/>
              <a:gd name="connsiteY0" fmla="*/ 0 h 5588002"/>
              <a:gd name="connsiteX1" fmla="*/ 7175911 w 7175911"/>
              <a:gd name="connsiteY1" fmla="*/ 0 h 5588002"/>
              <a:gd name="connsiteX2" fmla="*/ 7175911 w 7175911"/>
              <a:gd name="connsiteY2" fmla="*/ 5588002 h 5588002"/>
              <a:gd name="connsiteX3" fmla="*/ 0 w 7175911"/>
              <a:gd name="connsiteY3" fmla="*/ 5588002 h 5588002"/>
              <a:gd name="connsiteX4" fmla="*/ 0 w 7175911"/>
              <a:gd name="connsiteY4" fmla="*/ 5293727 h 5588002"/>
              <a:gd name="connsiteX5" fmla="*/ 5790 w 7175911"/>
              <a:gd name="connsiteY5" fmla="*/ 5288464 h 5588002"/>
              <a:gd name="connsiteX6" fmla="*/ 488683 w 7175911"/>
              <a:gd name="connsiteY6" fmla="*/ 4122658 h 5588002"/>
              <a:gd name="connsiteX7" fmla="*/ 5790 w 7175911"/>
              <a:gd name="connsiteY7" fmla="*/ 2956852 h 5588002"/>
              <a:gd name="connsiteX8" fmla="*/ 0 w 7175911"/>
              <a:gd name="connsiteY8" fmla="*/ 2951590 h 558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911" h="5588002">
                <a:moveTo>
                  <a:pt x="0" y="0"/>
                </a:moveTo>
                <a:lnTo>
                  <a:pt x="7175911" y="0"/>
                </a:lnTo>
                <a:lnTo>
                  <a:pt x="7175911" y="5588002"/>
                </a:lnTo>
                <a:lnTo>
                  <a:pt x="0" y="5588002"/>
                </a:lnTo>
                <a:lnTo>
                  <a:pt x="0" y="5293727"/>
                </a:lnTo>
                <a:lnTo>
                  <a:pt x="5790" y="5288464"/>
                </a:lnTo>
                <a:cubicBezTo>
                  <a:pt x="304146" y="4990109"/>
                  <a:pt x="488683" y="4577934"/>
                  <a:pt x="488683" y="4122658"/>
                </a:cubicBezTo>
                <a:cubicBezTo>
                  <a:pt x="488683" y="3667383"/>
                  <a:pt x="304146" y="3255208"/>
                  <a:pt x="5790" y="2956852"/>
                </a:cubicBezTo>
                <a:lnTo>
                  <a:pt x="0" y="2951590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E0D00CE-C191-6DE5-9D82-7EFB59BC37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3448" y="2138375"/>
            <a:ext cx="3385509" cy="3718867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228600" indent="0">
              <a:buNone/>
              <a:defRPr sz="1600">
                <a:solidFill>
                  <a:schemeClr val="accent1"/>
                </a:solidFill>
              </a:defRPr>
            </a:lvl2pPr>
            <a:lvl3pPr marL="457200" indent="0">
              <a:buNone/>
              <a:defRPr sz="1600">
                <a:solidFill>
                  <a:schemeClr val="accent1"/>
                </a:solidFill>
              </a:defRPr>
            </a:lvl3pPr>
            <a:lvl4pPr marL="685800" indent="0">
              <a:buNone/>
              <a:defRPr sz="1600">
                <a:solidFill>
                  <a:schemeClr val="accent1"/>
                </a:solidFill>
              </a:defRPr>
            </a:lvl4pPr>
            <a:lvl5pPr marL="914400" indent="0">
              <a:buNone/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72448" y="6237288"/>
            <a:ext cx="787929" cy="621792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fld id="{B3666A10-0B77-F944-AD99-FCC80283E84F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60377" y="6237288"/>
            <a:ext cx="2030909" cy="621792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1372" y="6237288"/>
            <a:ext cx="556591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FD83438-2E5D-AD4D-DF23-7C0AF0D3BE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2570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6E9A-8E96-CD8C-7598-F87632CD81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29478" y="634998"/>
            <a:ext cx="4328485" cy="3724959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DC76B8-60F6-62D3-9F73-E816622030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29477" y="4740958"/>
            <a:ext cx="4328486" cy="111628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96E1AF4-6FE8-93A0-25DF-72E86DC5921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6604" y="634998"/>
            <a:ext cx="5950914" cy="5588003"/>
          </a:xfrm>
          <a:custGeom>
            <a:avLst/>
            <a:gdLst>
              <a:gd name="connsiteX0" fmla="*/ 0 w 5950914"/>
              <a:gd name="connsiteY0" fmla="*/ 0 h 5588003"/>
              <a:gd name="connsiteX1" fmla="*/ 5950914 w 5950914"/>
              <a:gd name="connsiteY1" fmla="*/ 0 h 5588003"/>
              <a:gd name="connsiteX2" fmla="*/ 5950914 w 5950914"/>
              <a:gd name="connsiteY2" fmla="*/ 5588003 h 5588003"/>
              <a:gd name="connsiteX3" fmla="*/ 0 w 5950914"/>
              <a:gd name="connsiteY3" fmla="*/ 5588003 h 5588003"/>
              <a:gd name="connsiteX4" fmla="*/ 0 w 5950914"/>
              <a:gd name="connsiteY4" fmla="*/ 5260978 h 5588003"/>
              <a:gd name="connsiteX5" fmla="*/ 84015 w 5950914"/>
              <a:gd name="connsiteY5" fmla="*/ 5168539 h 5588003"/>
              <a:gd name="connsiteX6" fmla="*/ 460100 w 5950914"/>
              <a:gd name="connsiteY6" fmla="*/ 4120920 h 5588003"/>
              <a:gd name="connsiteX7" fmla="*/ 84015 w 5950914"/>
              <a:gd name="connsiteY7" fmla="*/ 3073301 h 5588003"/>
              <a:gd name="connsiteX8" fmla="*/ 0 w 5950914"/>
              <a:gd name="connsiteY8" fmla="*/ 2980862 h 558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50914" h="5588003">
                <a:moveTo>
                  <a:pt x="0" y="0"/>
                </a:moveTo>
                <a:lnTo>
                  <a:pt x="5950914" y="0"/>
                </a:lnTo>
                <a:lnTo>
                  <a:pt x="5950914" y="5588003"/>
                </a:lnTo>
                <a:lnTo>
                  <a:pt x="0" y="5588003"/>
                </a:lnTo>
                <a:lnTo>
                  <a:pt x="0" y="5260978"/>
                </a:lnTo>
                <a:lnTo>
                  <a:pt x="84015" y="5168539"/>
                </a:lnTo>
                <a:cubicBezTo>
                  <a:pt x="318963" y="4883847"/>
                  <a:pt x="460100" y="4518866"/>
                  <a:pt x="460100" y="4120920"/>
                </a:cubicBezTo>
                <a:cubicBezTo>
                  <a:pt x="460100" y="3722975"/>
                  <a:pt x="318963" y="3357993"/>
                  <a:pt x="84015" y="3073301"/>
                </a:cubicBezTo>
                <a:lnTo>
                  <a:pt x="0" y="2980862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l="-10900" t="-11363" r="-246" b="-11363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A170104-655E-7BC7-EDEB-7FE447A543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E2DAFA-435E-AAF9-8B67-495E5AFDCD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218986" y="6237288"/>
            <a:ext cx="953462" cy="633144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fld id="{04C4789F-A5B9-9A4A-96FA-A3504C908003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407A58-3351-E479-1A0C-2FF49FA42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82941" y="6237288"/>
            <a:ext cx="2818434" cy="620712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789E10-2433-2ECB-9C92-571B583A4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E57794D-BF6E-D207-E751-3015B338C5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A058256-1378-09D6-D900-D002D9E8C4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790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1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5475284"/>
            <a:ext cx="4328499" cy="825501"/>
          </a:xfrm>
        </p:spPr>
        <p:txBody>
          <a:bodyPr lIns="0"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4EC3C123-5843-8B79-B90C-C1E9C86E2AF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028" y="635000"/>
            <a:ext cx="10923935" cy="4474527"/>
          </a:xfrm>
          <a:custGeom>
            <a:avLst/>
            <a:gdLst>
              <a:gd name="connsiteX0" fmla="*/ 0 w 10923935"/>
              <a:gd name="connsiteY0" fmla="*/ 0 h 4474527"/>
              <a:gd name="connsiteX1" fmla="*/ 10923935 w 10923935"/>
              <a:gd name="connsiteY1" fmla="*/ 0 h 4474527"/>
              <a:gd name="connsiteX2" fmla="*/ 10923935 w 10923935"/>
              <a:gd name="connsiteY2" fmla="*/ 519288 h 4474527"/>
              <a:gd name="connsiteX3" fmla="*/ 10921104 w 10923935"/>
              <a:gd name="connsiteY3" fmla="*/ 521864 h 4474527"/>
              <a:gd name="connsiteX4" fmla="*/ 10438764 w 10923935"/>
              <a:gd name="connsiteY4" fmla="*/ 1687671 h 4474527"/>
              <a:gd name="connsiteX5" fmla="*/ 10921104 w 10923935"/>
              <a:gd name="connsiteY5" fmla="*/ 2853478 h 4474527"/>
              <a:gd name="connsiteX6" fmla="*/ 10923935 w 10923935"/>
              <a:gd name="connsiteY6" fmla="*/ 2856053 h 4474527"/>
              <a:gd name="connsiteX7" fmla="*/ 10923935 w 10923935"/>
              <a:gd name="connsiteY7" fmla="*/ 4474527 h 4474527"/>
              <a:gd name="connsiteX8" fmla="*/ 0 w 10923935"/>
              <a:gd name="connsiteY8" fmla="*/ 4474527 h 4474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923935" h="4474527">
                <a:moveTo>
                  <a:pt x="0" y="0"/>
                </a:moveTo>
                <a:lnTo>
                  <a:pt x="10923935" y="0"/>
                </a:lnTo>
                <a:lnTo>
                  <a:pt x="10923935" y="519288"/>
                </a:lnTo>
                <a:lnTo>
                  <a:pt x="10921104" y="521864"/>
                </a:lnTo>
                <a:cubicBezTo>
                  <a:pt x="10623090" y="820219"/>
                  <a:pt x="10438764" y="1232394"/>
                  <a:pt x="10438764" y="1687671"/>
                </a:cubicBezTo>
                <a:cubicBezTo>
                  <a:pt x="10438764" y="2142948"/>
                  <a:pt x="10623090" y="2555122"/>
                  <a:pt x="10921104" y="2853478"/>
                </a:cubicBezTo>
                <a:lnTo>
                  <a:pt x="10923935" y="2856053"/>
                </a:lnTo>
                <a:lnTo>
                  <a:pt x="10923935" y="4474527"/>
                </a:lnTo>
                <a:lnTo>
                  <a:pt x="0" y="4474527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4028" y="0"/>
            <a:ext cx="1499574" cy="6207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0872311-737D-9F4F-AC87-DB0291D92AD2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24098" y="0"/>
            <a:ext cx="3777267" cy="6207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0"/>
            <a:ext cx="428000" cy="620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3D15418-1E32-0501-0E66-54FC2DD08E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48911" y="5475285"/>
            <a:ext cx="6209052" cy="762003"/>
          </a:xfrm>
        </p:spPr>
        <p:txBody>
          <a:bodyPr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228600" indent="0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2pPr>
            <a:lvl3pPr marL="457200" indent="0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3pPr>
            <a:lvl4pPr marL="685800" indent="0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4pPr>
            <a:lvl5pPr marL="914400" indent="0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7645720-E97D-5A9F-2AAB-C5E55CCDC3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1097868" y="68436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402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36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4353866"/>
            <a:ext cx="2828934" cy="1869134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DE3838F-1096-9445-03DA-2218396E09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11557964" cy="3778270"/>
          </a:xfrm>
          <a:custGeom>
            <a:avLst/>
            <a:gdLst>
              <a:gd name="connsiteX0" fmla="*/ 0 w 11557964"/>
              <a:gd name="connsiteY0" fmla="*/ 0 h 3778270"/>
              <a:gd name="connsiteX1" fmla="*/ 11557964 w 11557964"/>
              <a:gd name="connsiteY1" fmla="*/ 0 h 3778270"/>
              <a:gd name="connsiteX2" fmla="*/ 11557964 w 11557964"/>
              <a:gd name="connsiteY2" fmla="*/ 1210735 h 3778270"/>
              <a:gd name="connsiteX3" fmla="*/ 11488478 w 11557964"/>
              <a:gd name="connsiteY3" fmla="*/ 1287188 h 3778270"/>
              <a:gd name="connsiteX4" fmla="*/ 11112393 w 11557964"/>
              <a:gd name="connsiteY4" fmla="*/ 2334807 h 3778270"/>
              <a:gd name="connsiteX5" fmla="*/ 11488478 w 11557964"/>
              <a:gd name="connsiteY5" fmla="*/ 3382426 h 3778270"/>
              <a:gd name="connsiteX6" fmla="*/ 11557964 w 11557964"/>
              <a:gd name="connsiteY6" fmla="*/ 3458879 h 3778270"/>
              <a:gd name="connsiteX7" fmla="*/ 11557964 w 11557964"/>
              <a:gd name="connsiteY7" fmla="*/ 3778270 h 3778270"/>
              <a:gd name="connsiteX8" fmla="*/ 0 w 11557964"/>
              <a:gd name="connsiteY8" fmla="*/ 3778270 h 3778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57964" h="3778270">
                <a:moveTo>
                  <a:pt x="0" y="0"/>
                </a:moveTo>
                <a:lnTo>
                  <a:pt x="11557964" y="0"/>
                </a:lnTo>
                <a:lnTo>
                  <a:pt x="11557964" y="1210735"/>
                </a:lnTo>
                <a:lnTo>
                  <a:pt x="11488478" y="1287188"/>
                </a:lnTo>
                <a:cubicBezTo>
                  <a:pt x="11253530" y="1571880"/>
                  <a:pt x="11112393" y="1936861"/>
                  <a:pt x="11112393" y="2334807"/>
                </a:cubicBezTo>
                <a:cubicBezTo>
                  <a:pt x="11112393" y="2732753"/>
                  <a:pt x="11253530" y="3097734"/>
                  <a:pt x="11488478" y="3382426"/>
                </a:cubicBezTo>
                <a:lnTo>
                  <a:pt x="11557964" y="3458879"/>
                </a:lnTo>
                <a:lnTo>
                  <a:pt x="11557964" y="3778270"/>
                </a:lnTo>
                <a:lnTo>
                  <a:pt x="0" y="3778270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r="-5486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3D15418-1E32-0501-0E66-54FC2DD08E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19552" y="4353866"/>
            <a:ext cx="7538411" cy="1869134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/>
            </a:lvl1pPr>
            <a:lvl2pPr marL="514350" indent="-285750">
              <a:buFont typeface="Arial" panose="020B0604020202020204" pitchFamily="34" charset="0"/>
              <a:buChar char="•"/>
              <a:defRPr sz="1600"/>
            </a:lvl2pPr>
            <a:lvl3pPr marL="742950" indent="-285750">
              <a:buFont typeface="Arial" panose="020B0604020202020204" pitchFamily="34" charset="0"/>
              <a:buChar char="•"/>
              <a:defRPr sz="1400"/>
            </a:lvl3pPr>
            <a:lvl4pPr marL="857250" indent="-171450">
              <a:buFont typeface="Arial" panose="020B0604020202020204" pitchFamily="34" charset="0"/>
              <a:buChar char="•"/>
              <a:defRPr sz="1200"/>
            </a:lvl4pPr>
            <a:lvl5pPr marL="1085850" indent="-171450"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C9EC854-FA5F-AE09-1314-D1AAF20194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1112392" y="684369"/>
            <a:ext cx="1094136" cy="3297397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0B329-36AE-2C48-81B3-C7D1A43CAAEC}" type="datetime1">
              <a:rPr lang="en-US" smtClean="0"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8579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30" y="649945"/>
            <a:ext cx="2828932" cy="1857624"/>
          </a:xfrm>
        </p:spPr>
        <p:txBody>
          <a:bodyPr anchor="t"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36D15D4-47F7-0CA5-0CC2-AD8D5526FC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4030" y="-1077"/>
            <a:ext cx="942975" cy="621792"/>
          </a:xfrm>
        </p:spPr>
        <p:txBody>
          <a:bodyPr/>
          <a:lstStyle/>
          <a:p>
            <a:fld id="{FC746EF2-0138-0B41-8D3F-9ACEB4379237}" type="datetime1">
              <a:rPr lang="en-US" smtClean="0"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86071" y="-1077"/>
            <a:ext cx="2828918" cy="621792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1380" y="-1077"/>
            <a:ext cx="556584" cy="62179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3D15418-1E32-0501-0E66-54FC2DD08E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19552" y="634999"/>
            <a:ext cx="7538412" cy="1870090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/>
            </a:lvl1pPr>
            <a:lvl2pPr marL="514350" indent="-285750">
              <a:buFont typeface="Arial" panose="020B0604020202020204" pitchFamily="34" charset="0"/>
              <a:buChar char="•"/>
              <a:defRPr sz="1600"/>
            </a:lvl2pPr>
            <a:lvl3pPr marL="742950" indent="-285750">
              <a:buFont typeface="Arial" panose="020B0604020202020204" pitchFamily="34" charset="0"/>
              <a:buChar char="•"/>
              <a:defRPr sz="1400"/>
            </a:lvl3pPr>
            <a:lvl4pPr marL="857250" indent="-171450">
              <a:buFont typeface="Arial" panose="020B0604020202020204" pitchFamily="34" charset="0"/>
              <a:buChar char="•"/>
              <a:defRPr sz="1200"/>
            </a:lvl4pPr>
            <a:lvl5pPr marL="1085850" indent="-171450"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5CC5781-0A62-4782-F0A6-6DA0498D307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029" y="3079730"/>
            <a:ext cx="11557969" cy="3778270"/>
          </a:xfrm>
          <a:custGeom>
            <a:avLst/>
            <a:gdLst>
              <a:gd name="connsiteX0" fmla="*/ 0 w 11557969"/>
              <a:gd name="connsiteY0" fmla="*/ 0 h 3778270"/>
              <a:gd name="connsiteX1" fmla="*/ 11557969 w 11557969"/>
              <a:gd name="connsiteY1" fmla="*/ 0 h 3778270"/>
              <a:gd name="connsiteX2" fmla="*/ 11557969 w 11557969"/>
              <a:gd name="connsiteY2" fmla="*/ 3778270 h 3778270"/>
              <a:gd name="connsiteX3" fmla="*/ 0 w 11557969"/>
              <a:gd name="connsiteY3" fmla="*/ 3778270 h 3778270"/>
              <a:gd name="connsiteX4" fmla="*/ 0 w 11557969"/>
              <a:gd name="connsiteY4" fmla="*/ 2816254 h 3778270"/>
              <a:gd name="connsiteX5" fmla="*/ 84022 w 11557969"/>
              <a:gd name="connsiteY5" fmla="*/ 2723807 h 3778270"/>
              <a:gd name="connsiteX6" fmla="*/ 460107 w 11557969"/>
              <a:gd name="connsiteY6" fmla="*/ 1676188 h 3778270"/>
              <a:gd name="connsiteX7" fmla="*/ 84022 w 11557969"/>
              <a:gd name="connsiteY7" fmla="*/ 628569 h 3778270"/>
              <a:gd name="connsiteX8" fmla="*/ 0 w 11557969"/>
              <a:gd name="connsiteY8" fmla="*/ 536122 h 3778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57969" h="3778270">
                <a:moveTo>
                  <a:pt x="0" y="0"/>
                </a:moveTo>
                <a:lnTo>
                  <a:pt x="11557969" y="0"/>
                </a:lnTo>
                <a:lnTo>
                  <a:pt x="11557969" y="3778270"/>
                </a:lnTo>
                <a:lnTo>
                  <a:pt x="0" y="3778270"/>
                </a:lnTo>
                <a:lnTo>
                  <a:pt x="0" y="2816254"/>
                </a:lnTo>
                <a:lnTo>
                  <a:pt x="84022" y="2723807"/>
                </a:lnTo>
                <a:cubicBezTo>
                  <a:pt x="318970" y="2439115"/>
                  <a:pt x="460107" y="2074134"/>
                  <a:pt x="460107" y="1676188"/>
                </a:cubicBezTo>
                <a:cubicBezTo>
                  <a:pt x="460107" y="1278243"/>
                  <a:pt x="318970" y="913261"/>
                  <a:pt x="84022" y="628569"/>
                </a:cubicBezTo>
                <a:lnTo>
                  <a:pt x="0" y="536122"/>
                </a:lnTo>
                <a:close/>
              </a:path>
            </a:pathLst>
          </a:custGeom>
          <a:blipFill dpi="0" rotWithShape="1">
            <a:blip r:embed="rId4">
              <a:alphaModFix amt="60000"/>
            </a:blip>
            <a:srcRect/>
            <a:stretch>
              <a:fillRect l="-5486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9319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635000"/>
            <a:ext cx="10923935" cy="1122374"/>
          </a:xfrm>
        </p:spPr>
        <p:txBody>
          <a:bodyPr anchor="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C3070D4-5CE3-CE9C-1E80-4AAEA3C62F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028" y="2115188"/>
            <a:ext cx="6203679" cy="4107812"/>
          </a:xfrm>
          <a:custGeom>
            <a:avLst/>
            <a:gdLst>
              <a:gd name="connsiteX0" fmla="*/ 0 w 6203679"/>
              <a:gd name="connsiteY0" fmla="*/ 0 h 4107812"/>
              <a:gd name="connsiteX1" fmla="*/ 6203679 w 6203679"/>
              <a:gd name="connsiteY1" fmla="*/ 0 h 4107812"/>
              <a:gd name="connsiteX2" fmla="*/ 6203679 w 6203679"/>
              <a:gd name="connsiteY2" fmla="*/ 4107812 h 4107812"/>
              <a:gd name="connsiteX3" fmla="*/ 0 w 6203679"/>
              <a:gd name="connsiteY3" fmla="*/ 4107812 h 4107812"/>
              <a:gd name="connsiteX4" fmla="*/ 0 w 6203679"/>
              <a:gd name="connsiteY4" fmla="*/ 3780797 h 4107812"/>
              <a:gd name="connsiteX5" fmla="*/ 84023 w 6203679"/>
              <a:gd name="connsiteY5" fmla="*/ 3688349 h 4107812"/>
              <a:gd name="connsiteX6" fmla="*/ 460108 w 6203679"/>
              <a:gd name="connsiteY6" fmla="*/ 2640730 h 4107812"/>
              <a:gd name="connsiteX7" fmla="*/ 84023 w 6203679"/>
              <a:gd name="connsiteY7" fmla="*/ 1593111 h 4107812"/>
              <a:gd name="connsiteX8" fmla="*/ 0 w 6203679"/>
              <a:gd name="connsiteY8" fmla="*/ 1500663 h 410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03679" h="4107812">
                <a:moveTo>
                  <a:pt x="0" y="0"/>
                </a:moveTo>
                <a:lnTo>
                  <a:pt x="6203679" y="0"/>
                </a:lnTo>
                <a:lnTo>
                  <a:pt x="6203679" y="4107812"/>
                </a:lnTo>
                <a:lnTo>
                  <a:pt x="0" y="4107812"/>
                </a:lnTo>
                <a:lnTo>
                  <a:pt x="0" y="3780797"/>
                </a:lnTo>
                <a:lnTo>
                  <a:pt x="84023" y="3688349"/>
                </a:lnTo>
                <a:cubicBezTo>
                  <a:pt x="318971" y="3403657"/>
                  <a:pt x="460108" y="3038676"/>
                  <a:pt x="460108" y="2640730"/>
                </a:cubicBezTo>
                <a:cubicBezTo>
                  <a:pt x="460108" y="2242785"/>
                  <a:pt x="318971" y="1877803"/>
                  <a:pt x="84023" y="1593111"/>
                </a:cubicBezTo>
                <a:lnTo>
                  <a:pt x="0" y="1500663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1897688-419F-6EB2-5CC1-DC14924E5F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24092" y="2115188"/>
            <a:ext cx="4333871" cy="374109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03B19-7A89-6C43-A81F-AD915A330998}" type="datetime1">
              <a:rPr lang="en-US" smtClean="0"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633529C-E38C-21CF-0D46-FC5DD165C1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7136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7" y="635000"/>
            <a:ext cx="4714883" cy="1480188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F68A838-691F-723E-B1C1-79580239D7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648" y="2510476"/>
            <a:ext cx="4736256" cy="3712523"/>
          </a:xfrm>
          <a:custGeom>
            <a:avLst/>
            <a:gdLst>
              <a:gd name="connsiteX0" fmla="*/ 0 w 4736256"/>
              <a:gd name="connsiteY0" fmla="*/ 0 h 3712523"/>
              <a:gd name="connsiteX1" fmla="*/ 4736256 w 4736256"/>
              <a:gd name="connsiteY1" fmla="*/ 0 h 3712523"/>
              <a:gd name="connsiteX2" fmla="*/ 4736256 w 4736256"/>
              <a:gd name="connsiteY2" fmla="*/ 3712523 h 3712523"/>
              <a:gd name="connsiteX3" fmla="*/ 0 w 4736256"/>
              <a:gd name="connsiteY3" fmla="*/ 3712523 h 3712523"/>
              <a:gd name="connsiteX4" fmla="*/ 0 w 4736256"/>
              <a:gd name="connsiteY4" fmla="*/ 3409033 h 3712523"/>
              <a:gd name="connsiteX5" fmla="*/ 105403 w 4736256"/>
              <a:gd name="connsiteY5" fmla="*/ 3293061 h 3712523"/>
              <a:gd name="connsiteX6" fmla="*/ 481488 w 4736256"/>
              <a:gd name="connsiteY6" fmla="*/ 2245442 h 3712523"/>
              <a:gd name="connsiteX7" fmla="*/ 105403 w 4736256"/>
              <a:gd name="connsiteY7" fmla="*/ 1197823 h 3712523"/>
              <a:gd name="connsiteX8" fmla="*/ 0 w 4736256"/>
              <a:gd name="connsiteY8" fmla="*/ 1081851 h 3712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36256" h="3712523">
                <a:moveTo>
                  <a:pt x="0" y="0"/>
                </a:moveTo>
                <a:lnTo>
                  <a:pt x="4736256" y="0"/>
                </a:lnTo>
                <a:lnTo>
                  <a:pt x="4736256" y="3712523"/>
                </a:lnTo>
                <a:lnTo>
                  <a:pt x="0" y="3712523"/>
                </a:lnTo>
                <a:lnTo>
                  <a:pt x="0" y="3409033"/>
                </a:lnTo>
                <a:lnTo>
                  <a:pt x="105403" y="3293061"/>
                </a:lnTo>
                <a:cubicBezTo>
                  <a:pt x="340351" y="3008369"/>
                  <a:pt x="481488" y="2643388"/>
                  <a:pt x="481488" y="2245442"/>
                </a:cubicBezTo>
                <a:cubicBezTo>
                  <a:pt x="481488" y="1847497"/>
                  <a:pt x="340351" y="1482515"/>
                  <a:pt x="105403" y="1197823"/>
                </a:cubicBezTo>
                <a:lnTo>
                  <a:pt x="0" y="1081851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BAC3300-BF12-B200-9F06-8D5AC45CB7E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897880" y="635000"/>
            <a:ext cx="5660084" cy="522224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1DC2D-0CBE-A944-8319-BD4077B6E3C8}" type="datetime1">
              <a:rPr lang="en-US" smtClean="0"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B45FF4F-B913-D1A6-5297-A0178CAC64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1792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634999"/>
            <a:ext cx="3768110" cy="1488134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B33039A-5BE9-D63F-D478-320623C6AD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4362" y="2495234"/>
            <a:ext cx="3771906" cy="3742054"/>
          </a:xfrm>
          <a:custGeom>
            <a:avLst/>
            <a:gdLst>
              <a:gd name="connsiteX0" fmla="*/ 0 w 3771906"/>
              <a:gd name="connsiteY0" fmla="*/ 0 h 3742054"/>
              <a:gd name="connsiteX1" fmla="*/ 3771906 w 3771906"/>
              <a:gd name="connsiteY1" fmla="*/ 0 h 3742054"/>
              <a:gd name="connsiteX2" fmla="*/ 3771906 w 3771906"/>
              <a:gd name="connsiteY2" fmla="*/ 3742054 h 3742054"/>
              <a:gd name="connsiteX3" fmla="*/ 0 w 3771906"/>
              <a:gd name="connsiteY3" fmla="*/ 3742054 h 3742054"/>
              <a:gd name="connsiteX4" fmla="*/ 0 w 3771906"/>
              <a:gd name="connsiteY4" fmla="*/ 3422389 h 3742054"/>
              <a:gd name="connsiteX5" fmla="*/ 103689 w 3771906"/>
              <a:gd name="connsiteY5" fmla="*/ 3308303 h 3742054"/>
              <a:gd name="connsiteX6" fmla="*/ 479774 w 3771906"/>
              <a:gd name="connsiteY6" fmla="*/ 2260684 h 3742054"/>
              <a:gd name="connsiteX7" fmla="*/ 103689 w 3771906"/>
              <a:gd name="connsiteY7" fmla="*/ 1213065 h 3742054"/>
              <a:gd name="connsiteX8" fmla="*/ 0 w 3771906"/>
              <a:gd name="connsiteY8" fmla="*/ 1098979 h 3742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71906" h="3742054">
                <a:moveTo>
                  <a:pt x="0" y="0"/>
                </a:moveTo>
                <a:lnTo>
                  <a:pt x="3771906" y="0"/>
                </a:lnTo>
                <a:lnTo>
                  <a:pt x="3771906" y="3742054"/>
                </a:lnTo>
                <a:lnTo>
                  <a:pt x="0" y="3742054"/>
                </a:lnTo>
                <a:lnTo>
                  <a:pt x="0" y="3422389"/>
                </a:lnTo>
                <a:lnTo>
                  <a:pt x="103689" y="3308303"/>
                </a:lnTo>
                <a:cubicBezTo>
                  <a:pt x="338637" y="3023611"/>
                  <a:pt x="479774" y="2658630"/>
                  <a:pt x="479774" y="2260684"/>
                </a:cubicBezTo>
                <a:cubicBezTo>
                  <a:pt x="479774" y="1862739"/>
                  <a:pt x="338637" y="1497757"/>
                  <a:pt x="103689" y="1213065"/>
                </a:cubicBezTo>
                <a:lnTo>
                  <a:pt x="0" y="1098979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3F7B03F-5EDA-605B-1A2E-F48896E489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62522" y="634999"/>
            <a:ext cx="6595441" cy="522224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04136-4B66-2E43-9144-CF8EA399895C}" type="datetime1">
              <a:rPr lang="en-US" smtClean="0"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4600558-AD7E-60FF-8492-5A854EED41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9981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56306E-B77F-CE22-FA8C-F08F17B5E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9553" y="4353867"/>
            <a:ext cx="7538410" cy="186913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3600" b="1" i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94E47C-0C77-0005-1755-14F7739DF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24098" y="14288"/>
            <a:ext cx="3777267" cy="62071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0528A9-0729-B0FB-328C-3C96994AA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14288"/>
            <a:ext cx="428000" cy="620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121CA6C-0D00-2F34-5013-21668AEDDF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" y="0"/>
            <a:ext cx="3081867" cy="6223000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418DF0B-1F85-2BB3-D241-A3A14BF7290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19552" y="620713"/>
            <a:ext cx="7538411" cy="4107813"/>
          </a:xfrm>
        </p:spPr>
        <p:txBody>
          <a:bodyPr anchor="b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232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#%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591E5F-EDEF-7D02-30E6-B960B5E459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CBC2EE6-A922-ED43-97A6-AB01B82C1D59}" type="datetime1">
              <a:rPr lang="en-US" smtClean="0"/>
              <a:pPr/>
              <a:t>12/1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5531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 Lar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56306E-B77F-CE22-FA8C-F08F17B5E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7005" y="4728526"/>
            <a:ext cx="9037984" cy="1128715"/>
          </a:xfrm>
        </p:spPr>
        <p:txBody>
          <a:bodyPr>
            <a:norm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591E5F-EDEF-7D02-30E6-B960B5E459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4028" y="-1479"/>
            <a:ext cx="1499574" cy="62071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6561FF0-8A26-D545-BC4A-0E6B429C8C27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94E47C-0C77-0005-1755-14F7739DF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24098" y="-1479"/>
            <a:ext cx="3777267" cy="62071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0528A9-0729-B0FB-328C-3C96994AA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-1479"/>
            <a:ext cx="428000" cy="620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418DF0B-1F85-2BB3-D241-A3A14BF7290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4027" y="634999"/>
            <a:ext cx="10923935" cy="4093527"/>
          </a:xfrm>
        </p:spPr>
        <p:txBody>
          <a:bodyPr anchor="b">
            <a:normAutofit/>
          </a:bodyPr>
          <a:lstStyle>
            <a:lvl1pPr marL="0" indent="0" algn="ctr">
              <a:lnSpc>
                <a:spcPct val="90000"/>
              </a:lnSpc>
              <a:buNone/>
              <a:defRPr sz="232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#%</a:t>
            </a:r>
          </a:p>
        </p:txBody>
      </p:sp>
    </p:spTree>
    <p:extLst>
      <p:ext uri="{BB962C8B-B14F-4D97-AF65-F5344CB8AC3E}">
        <p14:creationId xmlns:p14="http://schemas.microsoft.com/office/powerpoint/2010/main" val="5635763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 Larg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56306E-B77F-CE22-FA8C-F08F17B5E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3" y="4742814"/>
            <a:ext cx="8481386" cy="1113472"/>
          </a:xfrm>
        </p:spPr>
        <p:txBody>
          <a:bodyPr>
            <a:norm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591E5F-EDEF-7D02-30E6-B960B5E459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4028" y="0"/>
            <a:ext cx="1499574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ADDBFD-93AC-8C46-887E-0FFDE314A11A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94E47C-0C77-0005-1755-14F7739DF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24098" y="0"/>
            <a:ext cx="3777267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0528A9-0729-B0FB-328C-3C96994AA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0"/>
            <a:ext cx="428000" cy="620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418DF0B-1F85-2BB3-D241-A3A14BF7290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4027" y="620713"/>
            <a:ext cx="10923935" cy="4107814"/>
          </a:xfrm>
        </p:spPr>
        <p:txBody>
          <a:bodyPr anchor="b">
            <a:normAutofit/>
          </a:bodyPr>
          <a:lstStyle>
            <a:lvl1pPr marL="0" indent="0" algn="ctr">
              <a:lnSpc>
                <a:spcPct val="90000"/>
              </a:lnSpc>
              <a:buNone/>
              <a:defRPr sz="23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#%</a:t>
            </a:r>
          </a:p>
        </p:txBody>
      </p:sp>
    </p:spTree>
    <p:extLst>
      <p:ext uri="{BB962C8B-B14F-4D97-AF65-F5344CB8AC3E}">
        <p14:creationId xmlns:p14="http://schemas.microsoft.com/office/powerpoint/2010/main" val="1319807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221EB5-8556-FBD7-00D5-D69AC8E7E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-1133856"/>
            <a:ext cx="10652760" cy="113385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E4E45FF-53F3-89B1-B969-C440DC819EF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4028" y="2877190"/>
            <a:ext cx="10923935" cy="334581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6000" b="1"/>
            </a:lvl1pPr>
            <a:lvl2pPr marL="228600" indent="0">
              <a:lnSpc>
                <a:spcPct val="90000"/>
              </a:lnSpc>
              <a:buNone/>
              <a:defRPr sz="6000" b="1"/>
            </a:lvl2pPr>
            <a:lvl3pPr marL="457200" indent="0">
              <a:lnSpc>
                <a:spcPct val="90000"/>
              </a:lnSpc>
              <a:buNone/>
              <a:defRPr sz="6000" b="1"/>
            </a:lvl3pPr>
            <a:lvl4pPr marL="685800" indent="0">
              <a:lnSpc>
                <a:spcPct val="90000"/>
              </a:lnSpc>
              <a:buNone/>
              <a:defRPr sz="6000" b="1"/>
            </a:lvl4pPr>
            <a:lvl5pPr marL="914400" indent="0">
              <a:lnSpc>
                <a:spcPct val="90000"/>
              </a:lnSpc>
              <a:buNone/>
              <a:defRPr sz="6000" b="1"/>
            </a:lvl5pPr>
          </a:lstStyle>
          <a:p>
            <a:pPr lvl="0"/>
            <a:r>
              <a:rPr lang="en-US"/>
              <a:t>Click to add Statement Second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F688C7-1128-9027-65E4-A17BBE7DD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18BDEB-1721-614F-B930-1015370085FD}" type="datetime1">
              <a:rPr lang="en-US" smtClean="0"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6E87B-2252-4382-E6E7-15A81BCC8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1C6A68-1AC4-7B10-CD66-D67327434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43F0785-ACAD-BF27-CF58-99210408AC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6" y="0"/>
            <a:ext cx="6096006" cy="2514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3317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0E46E7A6-51C5-D1B3-E8DA-1092D2C7AF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1112392" y="3108959"/>
            <a:ext cx="1094136" cy="32973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4336E9A-8E96-CD8C-7598-F87632CD81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030" y="634999"/>
            <a:ext cx="4328068" cy="3346768"/>
          </a:xfr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DC76B8-60F6-62D3-9F73-E816622030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030" y="4353868"/>
            <a:ext cx="4328068" cy="1503374"/>
          </a:xfrm>
        </p:spPr>
        <p:txBody>
          <a:bodyPr anchor="b">
            <a:norm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91F941-2D53-CC10-7947-62237A245FE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34031" y="6238241"/>
            <a:ext cx="932216" cy="619759"/>
          </a:xfrm>
        </p:spPr>
        <p:txBody>
          <a:bodyPr/>
          <a:lstStyle/>
          <a:p>
            <a:fld id="{AA3718EF-A3C1-5F40-B99E-7AFD8194F6B8}" type="datetime1">
              <a:rPr lang="en-US" smtClean="0"/>
              <a:t>12/1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A6E6A4C-6C55-068A-43AA-78DB4D1D64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571629" y="6238241"/>
            <a:ext cx="2834307" cy="619759"/>
          </a:xfrm>
        </p:spPr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A2CCFF-14A7-08A8-4465-732CD89287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411319" y="6238241"/>
            <a:ext cx="550780" cy="619759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0DD8530-A295-563B-35D6-AAA22BA4729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32704" y="634998"/>
            <a:ext cx="5961841" cy="5588001"/>
          </a:xfrm>
          <a:custGeom>
            <a:avLst/>
            <a:gdLst>
              <a:gd name="connsiteX0" fmla="*/ 0 w 5961841"/>
              <a:gd name="connsiteY0" fmla="*/ 0 h 5588001"/>
              <a:gd name="connsiteX1" fmla="*/ 5961841 w 5961841"/>
              <a:gd name="connsiteY1" fmla="*/ 0 h 5588001"/>
              <a:gd name="connsiteX2" fmla="*/ 5961841 w 5961841"/>
              <a:gd name="connsiteY2" fmla="*/ 3000321 h 5588001"/>
              <a:gd name="connsiteX3" fmla="*/ 5892350 w 5961841"/>
              <a:gd name="connsiteY3" fmla="*/ 3076780 h 5588001"/>
              <a:gd name="connsiteX4" fmla="*/ 5516264 w 5961841"/>
              <a:gd name="connsiteY4" fmla="*/ 4124399 h 5588001"/>
              <a:gd name="connsiteX5" fmla="*/ 5892350 w 5961841"/>
              <a:gd name="connsiteY5" fmla="*/ 5172018 h 5588001"/>
              <a:gd name="connsiteX6" fmla="*/ 5961841 w 5961841"/>
              <a:gd name="connsiteY6" fmla="*/ 5248478 h 5588001"/>
              <a:gd name="connsiteX7" fmla="*/ 5961841 w 5961841"/>
              <a:gd name="connsiteY7" fmla="*/ 5588001 h 5588001"/>
              <a:gd name="connsiteX8" fmla="*/ 0 w 5961841"/>
              <a:gd name="connsiteY8" fmla="*/ 5588001 h 558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61841" h="5588001">
                <a:moveTo>
                  <a:pt x="0" y="0"/>
                </a:moveTo>
                <a:lnTo>
                  <a:pt x="5961841" y="0"/>
                </a:lnTo>
                <a:lnTo>
                  <a:pt x="5961841" y="3000321"/>
                </a:lnTo>
                <a:lnTo>
                  <a:pt x="5892350" y="3076780"/>
                </a:lnTo>
                <a:cubicBezTo>
                  <a:pt x="5657401" y="3361472"/>
                  <a:pt x="5516264" y="3726454"/>
                  <a:pt x="5516264" y="4124399"/>
                </a:cubicBezTo>
                <a:cubicBezTo>
                  <a:pt x="5516264" y="4522345"/>
                  <a:pt x="5657401" y="4887326"/>
                  <a:pt x="5892350" y="5172018"/>
                </a:cubicBezTo>
                <a:lnTo>
                  <a:pt x="5961841" y="5248478"/>
                </a:lnTo>
                <a:lnTo>
                  <a:pt x="5961841" y="5588001"/>
                </a:lnTo>
                <a:lnTo>
                  <a:pt x="0" y="5588001"/>
                </a:lnTo>
                <a:close/>
              </a:path>
            </a:pathLst>
          </a:custGeom>
          <a:blipFill dpi="0" rotWithShape="1">
            <a:blip r:embed="rId4">
              <a:alphaModFix amt="60000"/>
            </a:blip>
            <a:srcRect/>
            <a:stretch>
              <a:fillRect l="-1" t="-11364" r="-10635" b="-1136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F6549F6-475C-FA8C-431A-8BC413FB78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1112392" y="3108959"/>
            <a:ext cx="1094136" cy="329739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84F18DB-2227-3C59-6701-626170B89C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1112392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719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221EB5-8556-FBD7-00D5-D69AC8E7E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-1133856"/>
            <a:ext cx="10652760" cy="113385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E4E45FF-53F3-89B1-B969-C440DC819EF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4027" y="1748474"/>
            <a:ext cx="8481401" cy="410876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3600" b="1"/>
            </a:lvl1pPr>
            <a:lvl2pPr marL="228600" indent="0">
              <a:lnSpc>
                <a:spcPct val="100000"/>
              </a:lnSpc>
              <a:buNone/>
              <a:defRPr sz="3600" b="1"/>
            </a:lvl2pPr>
            <a:lvl3pPr marL="457200" indent="0">
              <a:lnSpc>
                <a:spcPct val="100000"/>
              </a:lnSpc>
              <a:buNone/>
              <a:defRPr sz="3600" b="1"/>
            </a:lvl3pPr>
            <a:lvl4pPr marL="685800" indent="0">
              <a:lnSpc>
                <a:spcPct val="100000"/>
              </a:lnSpc>
              <a:buNone/>
              <a:defRPr sz="3600" b="1"/>
            </a:lvl4pPr>
            <a:lvl5pPr marL="914400" indent="0">
              <a:lnSpc>
                <a:spcPct val="100000"/>
              </a:lnSpc>
              <a:buNone/>
              <a:defRPr sz="3600" b="1"/>
            </a:lvl5pPr>
          </a:lstStyle>
          <a:p>
            <a:pPr lvl="0"/>
            <a:r>
              <a:rPr lang="en-US"/>
              <a:t>Click to add Statem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F688C7-1128-9027-65E4-A17BBE7DD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3784B-43BF-594C-A8CC-4FEDB0FAE14E}" type="datetime1">
              <a:rPr lang="en-US" smtClean="0"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6E87B-2252-4382-E6E7-15A81BCC8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1C6A68-1AC4-7B10-CD66-D67327434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1992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221EB5-8556-FBD7-00D5-D69AC8E7E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-1133856"/>
            <a:ext cx="10652760" cy="113385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E4E45FF-53F3-89B1-B969-C440DC819EF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4027" y="635000"/>
            <a:ext cx="8481401" cy="522224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3600" b="1"/>
            </a:lvl1pPr>
            <a:lvl2pPr marL="228600" indent="0">
              <a:lnSpc>
                <a:spcPct val="100000"/>
              </a:lnSpc>
              <a:buNone/>
              <a:defRPr sz="3600" b="1"/>
            </a:lvl2pPr>
            <a:lvl3pPr marL="457200" indent="0">
              <a:lnSpc>
                <a:spcPct val="100000"/>
              </a:lnSpc>
              <a:buNone/>
              <a:defRPr sz="3600" b="1"/>
            </a:lvl3pPr>
            <a:lvl4pPr marL="685800" indent="0">
              <a:lnSpc>
                <a:spcPct val="100000"/>
              </a:lnSpc>
              <a:buNone/>
              <a:defRPr sz="3600" b="1"/>
            </a:lvl4pPr>
            <a:lvl5pPr marL="914400" indent="0">
              <a:lnSpc>
                <a:spcPct val="100000"/>
              </a:lnSpc>
              <a:buNone/>
              <a:defRPr sz="3600" b="1"/>
            </a:lvl5pPr>
          </a:lstStyle>
          <a:p>
            <a:pPr lvl="0"/>
            <a:r>
              <a:rPr lang="en-US"/>
              <a:t>Click to add Statem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F688C7-1128-9027-65E4-A17BBE7DD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A3D1C6-AAC3-2949-B8B2-AD29B932402D}" type="datetime1">
              <a:rPr lang="en-US" smtClean="0"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6E87B-2252-4382-E6E7-15A81BCC8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1C6A68-1AC4-7B10-CD66-D67327434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7295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12FA0A-1F7B-DD41-ECED-02B60BC46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028" y="5490528"/>
            <a:ext cx="10923935" cy="36576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Quote Autho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14BE2EA-8E1E-E2DA-5CCF-46908B013B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4029" y="634047"/>
            <a:ext cx="10923934" cy="4461191"/>
          </a:xfrm>
        </p:spPr>
        <p:txBody>
          <a:bodyPr anchor="ctr">
            <a:normAutofit/>
          </a:bodyPr>
          <a:lstStyle>
            <a:lvl1pPr marL="164592" indent="-164592">
              <a:lnSpc>
                <a:spcPct val="100000"/>
              </a:lnSpc>
              <a:spcBef>
                <a:spcPts val="0"/>
              </a:spcBef>
              <a:buNone/>
              <a:defRPr sz="4000">
                <a:latin typeface="+mj-lt"/>
              </a:defRPr>
            </a:lvl1pPr>
          </a:lstStyle>
          <a:p>
            <a:pPr lvl="0"/>
            <a:r>
              <a:rPr lang="en-US"/>
              <a:t>Click to add Qu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44C372-F7FA-5AA5-92C1-CF476A2662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540B2-79BF-4543-9C05-918FB6E5F205}" type="datetime1">
              <a:rPr lang="en-US" smtClean="0"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3912E3-7555-EAAB-BE83-59ED3B5C9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EAECF6-9F03-4C12-4BD4-4E8AE63A4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9789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12FA0A-1F7B-DD41-ECED-02B60BC46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028" y="5842955"/>
            <a:ext cx="10923934" cy="394332"/>
          </a:xfrm>
        </p:spPr>
        <p:txBody>
          <a:bodyPr anchor="t">
            <a:normAutofit/>
          </a:bodyPr>
          <a:lstStyle>
            <a:lvl1pPr>
              <a:lnSpc>
                <a:spcPct val="120000"/>
              </a:lnSpc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Quote Autho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44C372-F7FA-5AA5-92C1-CF476A26623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4028" y="22232"/>
            <a:ext cx="1499574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FBD532-1054-7940-B86B-D8AC26BC7006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3912E3-7555-EAAB-BE83-59ED3B5C9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24098" y="22232"/>
            <a:ext cx="3777267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EAECF6-9F03-4C12-4BD4-4E8AE63A4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22232"/>
            <a:ext cx="428000" cy="620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14BE2EA-8E1E-E2DA-5CCF-46908B013B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4029" y="657230"/>
            <a:ext cx="10923934" cy="4833297"/>
          </a:xfrm>
        </p:spPr>
        <p:txBody>
          <a:bodyPr anchor="t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Quote</a:t>
            </a:r>
          </a:p>
        </p:txBody>
      </p:sp>
    </p:spTree>
    <p:extLst>
      <p:ext uri="{BB962C8B-B14F-4D97-AF65-F5344CB8AC3E}">
        <p14:creationId xmlns:p14="http://schemas.microsoft.com/office/powerpoint/2010/main" val="1065899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12FA0A-1F7B-DD41-ECED-02B60BC46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028" y="5109526"/>
            <a:ext cx="9037986" cy="746760"/>
          </a:xfrm>
        </p:spPr>
        <p:txBody>
          <a:bodyPr anchor="ctr">
            <a:normAutofit/>
          </a:bodyPr>
          <a:lstStyle>
            <a:lvl1pPr>
              <a:lnSpc>
                <a:spcPct val="120000"/>
              </a:lnSpc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Quote Autho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14BE2EA-8E1E-E2DA-5CCF-46908B013B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4028" y="1001715"/>
            <a:ext cx="9037986" cy="3726811"/>
          </a:xfrm>
        </p:spPr>
        <p:txBody>
          <a:bodyPr anchor="ctr">
            <a:normAutofit/>
          </a:bodyPr>
          <a:lstStyle>
            <a:lvl1pPr marL="164592" indent="-164592">
              <a:lnSpc>
                <a:spcPct val="100000"/>
              </a:lnSpc>
              <a:spcBef>
                <a:spcPts val="0"/>
              </a:spcBef>
              <a:buNone/>
              <a:defRPr sz="4200">
                <a:latin typeface="+mj-lt"/>
              </a:defRPr>
            </a:lvl1pPr>
          </a:lstStyle>
          <a:p>
            <a:pPr lvl="0"/>
            <a:r>
              <a:rPr lang="en-US"/>
              <a:t>Click to add Qu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44C372-F7FA-5AA5-92C1-CF476A2662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CA2227-6E2D-354E-A988-1F981C3B6B51}" type="datetime1">
              <a:rPr lang="en-US" smtClean="0"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3912E3-7555-EAAB-BE83-59ED3B5C9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EAECF6-9F03-4C12-4BD4-4E8AE63A4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8524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634046"/>
            <a:ext cx="10923935" cy="74771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4DC103C-4E45-07FA-2734-5BAE2624DC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028" y="1761565"/>
            <a:ext cx="5266088" cy="409472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88F1ED9-CE64-0191-F909-FDC002A745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86500" y="1761565"/>
            <a:ext cx="5271463" cy="409472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46213" y="6237288"/>
            <a:ext cx="1499574" cy="620712"/>
          </a:xfrm>
        </p:spPr>
        <p:txBody>
          <a:bodyPr/>
          <a:lstStyle/>
          <a:p>
            <a:fld id="{8B551BE0-A6CD-4548-9E01-1D3277DBFB51}" type="datetime1">
              <a:rPr lang="en-US" smtClean="0"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93476368-8D03-97D8-705B-28510C0411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648"/>
          <a:stretch>
            <a:fillRect/>
          </a:stretch>
        </p:blipFill>
        <p:spPr>
          <a:xfrm flipH="1" flipV="1">
            <a:off x="0" y="6241735"/>
            <a:ext cx="4791064" cy="616266"/>
          </a:xfrm>
          <a:custGeom>
            <a:avLst/>
            <a:gdLst>
              <a:gd name="connsiteX0" fmla="*/ 4791064 w 4791064"/>
              <a:gd name="connsiteY0" fmla="*/ 616266 h 616266"/>
              <a:gd name="connsiteX1" fmla="*/ 0 w 4791064"/>
              <a:gd name="connsiteY1" fmla="*/ 616266 h 616266"/>
              <a:gd name="connsiteX2" fmla="*/ 0 w 4791064"/>
              <a:gd name="connsiteY2" fmla="*/ 0 h 616266"/>
              <a:gd name="connsiteX3" fmla="*/ 4791064 w 4791064"/>
              <a:gd name="connsiteY3" fmla="*/ 0 h 616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91064" h="616266">
                <a:moveTo>
                  <a:pt x="4791064" y="616266"/>
                </a:moveTo>
                <a:lnTo>
                  <a:pt x="0" y="616266"/>
                </a:lnTo>
                <a:lnTo>
                  <a:pt x="0" y="0"/>
                </a:lnTo>
                <a:lnTo>
                  <a:pt x="4791064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385944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EE969-634D-6E32-D227-18E9282C6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634999"/>
            <a:ext cx="10923934" cy="76360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CD26D4-290A-F0ED-7D62-41EDA6FEC2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757377"/>
            <a:ext cx="5266092" cy="380047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86E5640-DE07-46FE-2EFB-FCD8C5238D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028" y="2137422"/>
            <a:ext cx="5266092" cy="371981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536620-C4F3-EEC3-DBF1-05196B1CBB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10936" y="1757375"/>
            <a:ext cx="5247026" cy="380047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0D5795C-6228-AA6F-1CF7-AD7010686B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86500" y="2137422"/>
            <a:ext cx="5271462" cy="371981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B3581-658A-8487-F9CB-E79F2BFF2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E41700-DB16-A749-95BC-7A2184DCD429}" type="datetime1">
              <a:rPr lang="en-US" smtClean="0"/>
              <a:t>12/1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D76D8-9033-26CF-BF4C-AECCC685C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2A06B8-CC1D-542F-D8EB-7625046B9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2148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A9F42-7FF7-F803-C075-BC4968D35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635000"/>
            <a:ext cx="10923935" cy="11134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9E8268-7232-2944-F1BD-399F9419B5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7848A-678F-8246-AC68-590FE5E69511}" type="datetime1">
              <a:rPr lang="en-US" smtClean="0"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968DDD-323F-89A1-84E3-DDBA626D9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BDC76-671D-1671-DCE2-D5658BD40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2650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BC4D82-0182-501C-9231-467676804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7BCF2-0207-D649-9D7D-26C90FFE6EC0}" type="datetime1">
              <a:rPr lang="en-US" smtClean="0"/>
              <a:t>12/1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EAA6C9-A7F3-19F1-D17C-A1D83FAF5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EBB816-1B94-116F-92D4-6043AE9E0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4694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0C37F-77BE-E128-4248-D001C39E7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9" y="654965"/>
            <a:ext cx="3771907" cy="1480188"/>
          </a:xfrm>
        </p:spPr>
        <p:txBody>
          <a:bodyPr anchor="t"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0EEBFB-2026-6A35-33ED-F008376B67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7033" y="2510477"/>
            <a:ext cx="3788903" cy="3346764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B20A8-A604-C977-02C0-083BA86634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2522" y="639723"/>
            <a:ext cx="6582719" cy="5203231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F05638-7A56-469A-825A-1DFA600254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37765-1B48-464B-AD5E-3E4845AD488B}" type="datetime1">
              <a:rPr lang="en-US" smtClean="0"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85A215-184B-2105-0279-ED02F6445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C7CA46-892B-253A-3A28-7414E17B8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482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6E9A-8E96-CD8C-7598-F87632CD81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028" y="1381760"/>
            <a:ext cx="4714883" cy="4093526"/>
          </a:xfrm>
        </p:spPr>
        <p:txBody>
          <a:bodyPr anchor="ctr">
            <a:noAutofit/>
          </a:bodyPr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DC76B8-60F6-62D3-9F73-E816622030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028" y="635000"/>
            <a:ext cx="6209067" cy="366716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1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E2DAFA-435E-AAF9-8B67-495E5AFDC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5AA8FA-4E79-0647-B532-D7AD556E3364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407A58-3351-E479-1A0C-2FF49FA42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789E10-2433-2ECB-9C92-571B583A4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39F0CDE-4606-F841-A33F-8A19220E92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24515" y="1240797"/>
            <a:ext cx="6581772" cy="4376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151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B06A09-98CF-FAC2-3708-AECC4360C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635000"/>
            <a:ext cx="3771908" cy="1870090"/>
          </a:xfrm>
        </p:spPr>
        <p:txBody>
          <a:bodyPr anchor="t"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2C4A61-EF2A-C5A5-B150-4448600B39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028" y="2886089"/>
            <a:ext cx="3747478" cy="2971152"/>
          </a:xfrm>
        </p:spPr>
        <p:txBody>
          <a:bodyPr anchor="b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DB89B87-BC76-C321-1F69-162298348D0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986957" y="634999"/>
            <a:ext cx="6571006" cy="5588001"/>
          </a:xfrm>
          <a:custGeom>
            <a:avLst/>
            <a:gdLst>
              <a:gd name="connsiteX0" fmla="*/ 0 w 6571006"/>
              <a:gd name="connsiteY0" fmla="*/ 0 h 5588001"/>
              <a:gd name="connsiteX1" fmla="*/ 6571006 w 6571006"/>
              <a:gd name="connsiteY1" fmla="*/ 0 h 5588001"/>
              <a:gd name="connsiteX2" fmla="*/ 6571006 w 6571006"/>
              <a:gd name="connsiteY2" fmla="*/ 3000326 h 5588001"/>
              <a:gd name="connsiteX3" fmla="*/ 6501520 w 6571006"/>
              <a:gd name="connsiteY3" fmla="*/ 3076779 h 5588001"/>
              <a:gd name="connsiteX4" fmla="*/ 6125435 w 6571006"/>
              <a:gd name="connsiteY4" fmla="*/ 4124398 h 5588001"/>
              <a:gd name="connsiteX5" fmla="*/ 6501520 w 6571006"/>
              <a:gd name="connsiteY5" fmla="*/ 5172017 h 5588001"/>
              <a:gd name="connsiteX6" fmla="*/ 6571006 w 6571006"/>
              <a:gd name="connsiteY6" fmla="*/ 5248470 h 5588001"/>
              <a:gd name="connsiteX7" fmla="*/ 6571006 w 6571006"/>
              <a:gd name="connsiteY7" fmla="*/ 5588001 h 5588001"/>
              <a:gd name="connsiteX8" fmla="*/ 0 w 6571006"/>
              <a:gd name="connsiteY8" fmla="*/ 5588001 h 558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71006" h="5588001">
                <a:moveTo>
                  <a:pt x="0" y="0"/>
                </a:moveTo>
                <a:lnTo>
                  <a:pt x="6571006" y="0"/>
                </a:lnTo>
                <a:lnTo>
                  <a:pt x="6571006" y="3000326"/>
                </a:lnTo>
                <a:lnTo>
                  <a:pt x="6501520" y="3076779"/>
                </a:lnTo>
                <a:cubicBezTo>
                  <a:pt x="6266572" y="3361471"/>
                  <a:pt x="6125435" y="3726453"/>
                  <a:pt x="6125435" y="4124398"/>
                </a:cubicBezTo>
                <a:cubicBezTo>
                  <a:pt x="6125435" y="4522344"/>
                  <a:pt x="6266572" y="4887325"/>
                  <a:pt x="6501520" y="5172017"/>
                </a:cubicBezTo>
                <a:lnTo>
                  <a:pt x="6571006" y="5248470"/>
                </a:lnTo>
                <a:lnTo>
                  <a:pt x="6571006" y="5588001"/>
                </a:lnTo>
                <a:lnTo>
                  <a:pt x="0" y="5588001"/>
                </a:ln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0B235E-39C7-4C78-20EF-DB48ECD9CB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97B62-2AA3-CA49-97E0-9514A2203285}" type="datetime1">
              <a:rPr lang="en-US" smtClean="0"/>
              <a:t>1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DC75DA-9A78-9AB9-7171-95A08CC51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FE1A03-DCCB-53C7-DBFE-2AD55C905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C03E373-A9F4-D9D0-8964-2C18DD4D62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1112392" y="3108959"/>
            <a:ext cx="1094136" cy="329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3581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9" y="1769427"/>
            <a:ext cx="7152042" cy="1107763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7E1FCC9-2D1D-9C6B-8C9A-E3D0A77DBEF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4027" y="3257237"/>
            <a:ext cx="10923936" cy="260000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tx1"/>
                </a:solidFill>
              </a:defRPr>
            </a:lvl2pPr>
            <a:lvl3pPr marL="457200" indent="0">
              <a:buNone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>
                <a:solidFill>
                  <a:schemeClr val="tx1"/>
                </a:solidFill>
              </a:defRPr>
            </a:lvl4pPr>
            <a:lvl5pPr marL="9144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AC4D32A-4C87-EA41-85E7-FFCD2056A1CC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2308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sion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7" y="1381760"/>
            <a:ext cx="8481401" cy="1852292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53FFEDA-E57B-DF13-2394-A1514E15F85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4027" y="3623950"/>
            <a:ext cx="8481401" cy="1485576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228600" indent="0">
              <a:buNone/>
              <a:defRPr sz="2000">
                <a:solidFill>
                  <a:schemeClr val="tx1"/>
                </a:solidFill>
              </a:defRPr>
            </a:lvl2pPr>
            <a:lvl3pPr marL="457200" indent="0">
              <a:buNone/>
              <a:defRPr sz="1800">
                <a:solidFill>
                  <a:schemeClr val="tx1"/>
                </a:solidFill>
              </a:defRPr>
            </a:lvl3pPr>
            <a:lvl4pPr marL="685800" indent="0">
              <a:buNone/>
              <a:defRPr sz="1600">
                <a:solidFill>
                  <a:schemeClr val="tx1"/>
                </a:solidFill>
              </a:defRPr>
            </a:lvl4pPr>
            <a:lvl5pPr marL="91440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9917C45-0390-C846-9087-7A5EE7312278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596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6E9A-8E96-CD8C-7598-F87632CD81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028" y="635000"/>
            <a:ext cx="8095017" cy="375702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DC76B8-60F6-62D3-9F73-E816622030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028" y="4728526"/>
            <a:ext cx="7538426" cy="1114428"/>
          </a:xfrm>
        </p:spPr>
        <p:txBody>
          <a:bodyPr anchor="t">
            <a:norm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E2DAFA-435E-AAF9-8B67-495E5AFDC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F68B9-6BB7-9D4A-99F3-0513B2017523}" type="datetime1">
              <a:rPr lang="en-US" smtClean="0"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407A58-3351-E479-1A0C-2FF49FA42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789E10-2433-2ECB-9C92-571B583A4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459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6E9A-8E96-CD8C-7598-F87632CD81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33602" y="1373816"/>
            <a:ext cx="7924802" cy="260795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DC76B8-60F6-62D3-9F73-E816622030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33603" y="4353867"/>
            <a:ext cx="7924802" cy="1099871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E2DAFA-435E-AAF9-8B67-495E5AFDC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9948A6-5242-6042-9F4C-DE70E7840F72}" type="datetime1">
              <a:rPr lang="en-US" smtClean="0"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407A58-3351-E479-1A0C-2FF49FA42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789E10-2433-2ECB-9C92-571B583A4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34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6E9A-8E96-CD8C-7598-F87632CD81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028" y="1801368"/>
            <a:ext cx="4714883" cy="4242245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Picture Placeholder 60">
            <a:extLst>
              <a:ext uri="{FF2B5EF4-FFF2-40B4-BE49-F238E27FC236}">
                <a16:creationId xmlns:a16="http://schemas.microsoft.com/office/drawing/2014/main" id="{E551A7A3-1727-A90A-2D5E-00BB1956EB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5916" y="-1"/>
            <a:ext cx="4946650" cy="5857240"/>
          </a:xfrm>
          <a:custGeom>
            <a:avLst/>
            <a:gdLst>
              <a:gd name="connsiteX0" fmla="*/ 2928621 w 4946650"/>
              <a:gd name="connsiteY0" fmla="*/ 0 h 5857240"/>
              <a:gd name="connsiteX1" fmla="*/ 4791496 w 4946650"/>
              <a:gd name="connsiteY1" fmla="*/ 668755 h 5857240"/>
              <a:gd name="connsiteX2" fmla="*/ 4946650 w 4946650"/>
              <a:gd name="connsiteY2" fmla="*/ 809768 h 5857240"/>
              <a:gd name="connsiteX3" fmla="*/ 4946650 w 4946650"/>
              <a:gd name="connsiteY3" fmla="*/ 5047474 h 5857240"/>
              <a:gd name="connsiteX4" fmla="*/ 4791496 w 4946650"/>
              <a:gd name="connsiteY4" fmla="*/ 5188487 h 5857240"/>
              <a:gd name="connsiteX5" fmla="*/ 3191069 w 4946650"/>
              <a:gd name="connsiteY5" fmla="*/ 5845642 h 5857240"/>
              <a:gd name="connsiteX6" fmla="*/ 2928666 w 4946650"/>
              <a:gd name="connsiteY6" fmla="*/ 5857240 h 5857240"/>
              <a:gd name="connsiteX7" fmla="*/ 2928581 w 4946650"/>
              <a:gd name="connsiteY7" fmla="*/ 5857240 h 5857240"/>
              <a:gd name="connsiteX8" fmla="*/ 2629186 w 4946650"/>
              <a:gd name="connsiteY8" fmla="*/ 5842122 h 5857240"/>
              <a:gd name="connsiteX9" fmla="*/ 0 w 4946650"/>
              <a:gd name="connsiteY9" fmla="*/ 2928621 h 5857240"/>
              <a:gd name="connsiteX10" fmla="*/ 2928621 w 4946650"/>
              <a:gd name="connsiteY10" fmla="*/ 0 h 585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946650" h="5857240">
                <a:moveTo>
                  <a:pt x="2928621" y="0"/>
                </a:moveTo>
                <a:cubicBezTo>
                  <a:pt x="3636248" y="0"/>
                  <a:pt x="4285258" y="250970"/>
                  <a:pt x="4791496" y="668755"/>
                </a:cubicBezTo>
                <a:lnTo>
                  <a:pt x="4946650" y="809768"/>
                </a:lnTo>
                <a:lnTo>
                  <a:pt x="4946650" y="5047474"/>
                </a:lnTo>
                <a:lnTo>
                  <a:pt x="4791496" y="5188487"/>
                </a:lnTo>
                <a:cubicBezTo>
                  <a:pt x="4348538" y="5554050"/>
                  <a:pt x="3796270" y="5791893"/>
                  <a:pt x="3191069" y="5845642"/>
                </a:cubicBezTo>
                <a:lnTo>
                  <a:pt x="2928666" y="5857240"/>
                </a:lnTo>
                <a:lnTo>
                  <a:pt x="2928581" y="5857240"/>
                </a:lnTo>
                <a:lnTo>
                  <a:pt x="2629186" y="5842122"/>
                </a:lnTo>
                <a:cubicBezTo>
                  <a:pt x="1152412" y="5692147"/>
                  <a:pt x="0" y="4444965"/>
                  <a:pt x="0" y="2928621"/>
                </a:cubicBezTo>
                <a:cubicBezTo>
                  <a:pt x="0" y="1311188"/>
                  <a:pt x="1311188" y="0"/>
                  <a:pt x="2928621" y="0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l="-115" r="-115"/>
            </a:stretch>
          </a:blipFill>
        </p:spPr>
        <p:txBody>
          <a:bodyPr wrap="square" tIns="4572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E2DAFA-435E-AAF9-8B67-495E5AFDC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20D163-75DF-7341-9416-28A6544E64C8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407A58-3351-E479-1A0C-2FF49FA42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789E10-2433-2ECB-9C92-571B583A4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0A14F8C-0968-53B4-FC21-9837A2AB4FE9}"/>
              </a:ext>
            </a:extLst>
          </p:cNvPr>
          <p:cNvSpPr/>
          <p:nvPr userDrawn="1"/>
        </p:nvSpPr>
        <p:spPr>
          <a:xfrm>
            <a:off x="11436854" y="0"/>
            <a:ext cx="755146" cy="5857241"/>
          </a:xfrm>
          <a:custGeom>
            <a:avLst/>
            <a:gdLst>
              <a:gd name="connsiteX0" fmla="*/ 755146 w 755146"/>
              <a:gd name="connsiteY0" fmla="*/ 3864479 h 5857241"/>
              <a:gd name="connsiteX1" fmla="*/ 755146 w 755146"/>
              <a:gd name="connsiteY1" fmla="*/ 5857241 h 5857241"/>
              <a:gd name="connsiteX2" fmla="*/ 0 w 755146"/>
              <a:gd name="connsiteY2" fmla="*/ 5857241 h 5857241"/>
              <a:gd name="connsiteX3" fmla="*/ 0 w 755146"/>
              <a:gd name="connsiteY3" fmla="*/ 5047474 h 5857241"/>
              <a:gd name="connsiteX4" fmla="*/ 52819 w 755146"/>
              <a:gd name="connsiteY4" fmla="*/ 4999469 h 5857241"/>
              <a:gd name="connsiteX5" fmla="*/ 680447 w 755146"/>
              <a:gd name="connsiteY5" fmla="*/ 4068573 h 5857241"/>
              <a:gd name="connsiteX6" fmla="*/ 0 w 755146"/>
              <a:gd name="connsiteY6" fmla="*/ 0 h 5857241"/>
              <a:gd name="connsiteX7" fmla="*/ 755146 w 755146"/>
              <a:gd name="connsiteY7" fmla="*/ 0 h 5857241"/>
              <a:gd name="connsiteX8" fmla="*/ 755146 w 755146"/>
              <a:gd name="connsiteY8" fmla="*/ 1992764 h 5857241"/>
              <a:gd name="connsiteX9" fmla="*/ 680447 w 755146"/>
              <a:gd name="connsiteY9" fmla="*/ 1788670 h 5857241"/>
              <a:gd name="connsiteX10" fmla="*/ 52819 w 755146"/>
              <a:gd name="connsiteY10" fmla="*/ 857773 h 5857241"/>
              <a:gd name="connsiteX11" fmla="*/ 0 w 755146"/>
              <a:gd name="connsiteY11" fmla="*/ 809768 h 5857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55146" h="5857241">
                <a:moveTo>
                  <a:pt x="755146" y="3864479"/>
                </a:moveTo>
                <a:lnTo>
                  <a:pt x="755146" y="5857241"/>
                </a:lnTo>
                <a:lnTo>
                  <a:pt x="0" y="5857241"/>
                </a:lnTo>
                <a:lnTo>
                  <a:pt x="0" y="5047474"/>
                </a:lnTo>
                <a:lnTo>
                  <a:pt x="52819" y="4999469"/>
                </a:lnTo>
                <a:cubicBezTo>
                  <a:pt x="317807" y="4734481"/>
                  <a:pt x="532250" y="4418949"/>
                  <a:pt x="680447" y="4068573"/>
                </a:cubicBezTo>
                <a:close/>
                <a:moveTo>
                  <a:pt x="0" y="0"/>
                </a:moveTo>
                <a:lnTo>
                  <a:pt x="755146" y="0"/>
                </a:lnTo>
                <a:lnTo>
                  <a:pt x="755146" y="1992764"/>
                </a:lnTo>
                <a:lnTo>
                  <a:pt x="680447" y="1788670"/>
                </a:lnTo>
                <a:cubicBezTo>
                  <a:pt x="532250" y="1438294"/>
                  <a:pt x="317807" y="1122761"/>
                  <a:pt x="52819" y="857773"/>
                </a:cubicBezTo>
                <a:lnTo>
                  <a:pt x="0" y="8097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n>
                <a:noFill/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270940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6" pos="3840">
          <p15:clr>
            <a:srgbClr val="FBAE40"/>
          </p15:clr>
        </p15:guide>
        <p15:guide id="7" orient="horz" pos="367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4019F8-742E-9EEF-F591-C9666AC32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634999"/>
            <a:ext cx="9038001" cy="1480189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8C8B19A-6FC1-2B71-0BFB-9274CBF396B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4028" y="2333860"/>
            <a:ext cx="9038001" cy="3523381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1600"/>
            </a:lvl1pPr>
            <a:lvl2pPr marL="685800" indent="-457200">
              <a:buFont typeface="+mj-lt"/>
              <a:buAutoNum type="arabicPeriod"/>
              <a:defRPr sz="1600"/>
            </a:lvl2pPr>
            <a:lvl3pPr marL="800100" indent="-342900">
              <a:buFont typeface="+mj-lt"/>
              <a:buAutoNum type="arabicPeriod"/>
              <a:defRPr sz="1600"/>
            </a:lvl3pPr>
            <a:lvl4pPr marL="1028700" indent="-342900">
              <a:buFont typeface="+mj-lt"/>
              <a:buAutoNum type="arabicPeriod"/>
              <a:defRPr sz="1600"/>
            </a:lvl4pPr>
            <a:lvl5pPr marL="1257300" indent="-342900">
              <a:buFont typeface="+mj-lt"/>
              <a:buAutoNum type="arabicPeriod"/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C77F2D-39D2-22F7-CF0B-39D63EBF00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632AB-D200-AE4A-8FF8-246AD1144EA1}" type="datetime1">
              <a:rPr lang="en-US" smtClean="0"/>
              <a:t>1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12CFE6-D05E-5478-B3A4-81DC4DCD7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rand propos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6B86D3-24E1-029E-BA22-9F17F9517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963" y="6237288"/>
            <a:ext cx="428000" cy="620712"/>
          </a:xfrm>
          <a:prstGeom prst="rect">
            <a:avLst/>
          </a:prstGeom>
        </p:spPr>
        <p:txBody>
          <a:bodyPr/>
          <a:lstStyle/>
          <a:p>
            <a:fld id="{CC057153-B650-4DEB-B370-79DDCFDCE9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255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8A689B2-6A75-E76F-FD7A-1DC8EBC31268}"/>
              </a:ext>
            </a:extLst>
          </p:cNvPr>
          <p:cNvGraphicFramePr>
            <a:graphicFrameLocks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295852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79" imgH="478" progId="TCLayout.ActiveDocument.1">
                  <p:embed/>
                </p:oleObj>
              </mc:Choice>
              <mc:Fallback>
                <p:oleObj name="think-cell Slide" r:id="rId55" imgW="479" imgH="47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A689B2-6A75-E76F-FD7A-1DC8EBC3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5BFB69-9245-EC58-F1DE-FEB625BD3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1001714"/>
            <a:ext cx="10923935" cy="75565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16AFD5-5144-C460-0CA4-644BC4A93C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029" y="2129475"/>
            <a:ext cx="10923933" cy="3726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95753E-AF8A-7E04-8A1A-205B755A0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4028" y="6237288"/>
            <a:ext cx="1499574" cy="6207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492782E5-AE25-DD49-AF05-236D09A06EC0}" type="datetime1">
              <a:rPr lang="en-US" smtClean="0"/>
              <a:pPr/>
              <a:t>1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E1B7C8-DA74-800B-EE14-A39E9DB32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24098" y="6237288"/>
            <a:ext cx="3777267" cy="6207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en-US"/>
              <a:t>Brand propos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C1647D-0DF0-CA1B-F723-EF7B8F508D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1372" y="6237288"/>
            <a:ext cx="556591" cy="6207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eue Haas Grotesk Text Pro" panose="020B0504020202020204" pitchFamily="34" charset="77"/>
              </a:defRPr>
            </a:lvl1pPr>
          </a:lstStyle>
          <a:p>
            <a:fld id="{CC057153-B650-4DEB-B370-79DDCFDCE93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794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  <p:sldLayoutId id="2147483944" r:id="rId21"/>
    <p:sldLayoutId id="2147483945" r:id="rId22"/>
    <p:sldLayoutId id="2147483946" r:id="rId23"/>
    <p:sldLayoutId id="2147483947" r:id="rId24"/>
    <p:sldLayoutId id="2147483948" r:id="rId25"/>
    <p:sldLayoutId id="2147483949" r:id="rId26"/>
    <p:sldLayoutId id="2147483950" r:id="rId27"/>
    <p:sldLayoutId id="2147483951" r:id="rId28"/>
    <p:sldLayoutId id="2147483952" r:id="rId29"/>
    <p:sldLayoutId id="2147483953" r:id="rId30"/>
    <p:sldLayoutId id="2147483954" r:id="rId31"/>
    <p:sldLayoutId id="2147483955" r:id="rId32"/>
    <p:sldLayoutId id="2147483956" r:id="rId33"/>
    <p:sldLayoutId id="2147483957" r:id="rId34"/>
    <p:sldLayoutId id="2147483958" r:id="rId35"/>
    <p:sldLayoutId id="2147483959" r:id="rId36"/>
    <p:sldLayoutId id="2147483960" r:id="rId37"/>
    <p:sldLayoutId id="2147483961" r:id="rId38"/>
    <p:sldLayoutId id="2147483962" r:id="rId39"/>
    <p:sldLayoutId id="2147483963" r:id="rId40"/>
    <p:sldLayoutId id="2147483964" r:id="rId41"/>
    <p:sldLayoutId id="2147483965" r:id="rId42"/>
    <p:sldLayoutId id="2147483966" r:id="rId43"/>
    <p:sldLayoutId id="2147483967" r:id="rId44"/>
    <p:sldLayoutId id="2147483968" r:id="rId45"/>
    <p:sldLayoutId id="2147483969" r:id="rId46"/>
    <p:sldLayoutId id="2147483970" r:id="rId47"/>
    <p:sldLayoutId id="2147483971" r:id="rId48"/>
    <p:sldLayoutId id="2147483972" r:id="rId49"/>
    <p:sldLayoutId id="2147483973" r:id="rId50"/>
    <p:sldLayoutId id="2147483974" r:id="rId51"/>
    <p:sldLayoutId id="2147483975" r:id="rId5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0.xml"/><Relationship Id="rId5" Type="http://schemas.openxmlformats.org/officeDocument/2006/relationships/image" Target="../media/image49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3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1.emf"/><Relationship Id="rId9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7" Type="http://schemas.openxmlformats.org/officeDocument/2006/relationships/image" Target="../media/image58.png"/><Relationship Id="rId2" Type="http://schemas.microsoft.com/office/2007/relationships/media" Target="../media/media1.mp4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5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.xml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.xml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7.sv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9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Relationship Id="rId9" Type="http://schemas.openxmlformats.org/officeDocument/2006/relationships/image" Target="../media/image4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36EC587-0EED-CA82-B24D-FD8DC32015B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494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6EC587-0EED-CA82-B24D-FD8DC32015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09A3B-1FE7-E147-E8AB-DB12D1737B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9253" y="-1713357"/>
            <a:ext cx="5985847" cy="4242245"/>
          </a:xfrm>
        </p:spPr>
        <p:txBody>
          <a:bodyPr vert="horz" rIns="91440"/>
          <a:lstStyle/>
          <a:p>
            <a:r>
              <a:rPr lang="en-GB" err="1"/>
              <a:t>TreeSolutions</a:t>
            </a:r>
            <a:r>
              <a:rPr lang="en-GB"/>
              <a:t>  Group 10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570874-88AA-AF39-E965-BD9A62EBD7D2}"/>
              </a:ext>
            </a:extLst>
          </p:cNvPr>
          <p:cNvSpPr txBox="1"/>
          <p:nvPr/>
        </p:nvSpPr>
        <p:spPr>
          <a:xfrm>
            <a:off x="800100" y="2809875"/>
            <a:ext cx="3295650" cy="2779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2"/>
                </a:solidFill>
              </a:rPr>
              <a:t>Amélie Buysse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2"/>
                </a:solidFill>
              </a:rPr>
              <a:t>Berre </a:t>
            </a:r>
            <a:r>
              <a:rPr lang="en-GB" err="1">
                <a:solidFill>
                  <a:schemeClr val="bg2"/>
                </a:solidFill>
              </a:rPr>
              <a:t>Deleersnijder</a:t>
            </a:r>
            <a:endParaRPr lang="en-GB">
              <a:solidFill>
                <a:schemeClr val="bg2"/>
              </a:solidFill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2"/>
                </a:solidFill>
              </a:rPr>
              <a:t>Joren Render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2"/>
                </a:solidFill>
              </a:rPr>
              <a:t>Mathieu Deconinck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2"/>
                </a:solidFill>
              </a:rPr>
              <a:t>Gevorg Sofoyan</a:t>
            </a:r>
            <a:endParaRPr lang="en-BE">
              <a:solidFill>
                <a:schemeClr val="bg2"/>
              </a:solidFill>
            </a:endParaRPr>
          </a:p>
        </p:txBody>
      </p:sp>
      <p:pic>
        <p:nvPicPr>
          <p:cNvPr id="5" name="Afbeelding 4" descr="Afbeelding met tekst, Lettertype, Graphics, grafische vormgeving&#10;&#10;Door AI gegenereerde inhoud is mogelijk onjuist.">
            <a:extLst>
              <a:ext uri="{FF2B5EF4-FFF2-40B4-BE49-F238E27FC236}">
                <a16:creationId xmlns:a16="http://schemas.microsoft.com/office/drawing/2014/main" id="{EE873120-9652-CD2E-8F3F-F817542054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2532" y="-619258"/>
            <a:ext cx="5819321" cy="5819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8874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1BB10F3-0345-D710-EBA0-BE714ED79F1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774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BB10F3-0345-D710-EBA0-BE714ED79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45ED99-ABBC-C00B-1626-47619DCB79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GB"/>
              <a:t>Complex Algorithm: </a:t>
            </a:r>
            <a:endParaRPr lang="en-BE" dirty="0"/>
          </a:p>
        </p:txBody>
      </p:sp>
      <p:pic>
        <p:nvPicPr>
          <p:cNvPr id="8" name="Afbeelding 7" descr="Afbeelding met tekst, schermopname, Lettertype, nummer&#10;&#10;Door AI gegenereerde inhoud is mogelijk onjuist.">
            <a:extLst>
              <a:ext uri="{FF2B5EF4-FFF2-40B4-BE49-F238E27FC236}">
                <a16:creationId xmlns:a16="http://schemas.microsoft.com/office/drawing/2014/main" id="{AD0D2761-BFAD-9AE9-85EF-5D1B4DC6D2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3009" y="1212605"/>
            <a:ext cx="9552843" cy="545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1281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ABE44BF-433A-E743-C035-A3D09A33146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065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BE44BF-433A-E743-C035-A3D09A331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8CBCAF-2A7B-2CBF-A3FB-11ED239FD8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030" y="634999"/>
            <a:ext cx="4328068" cy="679451"/>
          </a:xfrm>
        </p:spPr>
        <p:txBody>
          <a:bodyPr vert="horz" rIns="91440">
            <a:normAutofit fontScale="90000"/>
          </a:bodyPr>
          <a:lstStyle/>
          <a:p>
            <a:r>
              <a:rPr lang="en-GB" dirty="0"/>
              <a:t>Our Code</a:t>
            </a:r>
            <a:br>
              <a:rPr lang="en-GB" dirty="0"/>
            </a:br>
            <a:br>
              <a:rPr lang="en-GB" dirty="0"/>
            </a:br>
            <a:r>
              <a:rPr lang="en-GB" sz="2200" dirty="0"/>
              <a:t>We took a very structured approach in building our code:</a:t>
            </a:r>
            <a:br>
              <a:rPr lang="en-GB" sz="2200" b="0" dirty="0"/>
            </a:br>
            <a:br>
              <a:rPr lang="en-GB" sz="2200" b="0" dirty="0"/>
            </a:br>
            <a:br>
              <a:rPr lang="en-GB" sz="2200" b="0" dirty="0"/>
            </a:br>
            <a:r>
              <a:rPr lang="en-GB" sz="2000" b="0" dirty="0"/>
              <a:t>- Divided the </a:t>
            </a:r>
            <a:r>
              <a:rPr lang="en-GB" sz="2000" dirty="0"/>
              <a:t>static and dynamic template files</a:t>
            </a:r>
            <a:r>
              <a:rPr lang="en-GB" sz="2000" b="0" dirty="0"/>
              <a:t>, also using </a:t>
            </a:r>
            <a:r>
              <a:rPr lang="en-GB" sz="2000" dirty="0"/>
              <a:t>base templates</a:t>
            </a:r>
            <a:r>
              <a:rPr lang="en-GB" sz="2000" b="0" dirty="0"/>
              <a:t> for both</a:t>
            </a:r>
            <a:br>
              <a:rPr lang="en-GB" sz="2000" b="0" dirty="0"/>
            </a:br>
            <a:br>
              <a:rPr lang="en-GB" sz="2000" b="0" dirty="0"/>
            </a:br>
            <a:r>
              <a:rPr lang="en-GB" sz="2000" b="0" dirty="0"/>
              <a:t>- Divided our </a:t>
            </a:r>
            <a:r>
              <a:rPr lang="en-GB" sz="2000" dirty="0"/>
              <a:t>database and logic </a:t>
            </a:r>
            <a:r>
              <a:rPr lang="en-GB" sz="2000" b="0" dirty="0"/>
              <a:t>in different files, with </a:t>
            </a:r>
            <a:r>
              <a:rPr lang="en-GB" sz="2000" dirty="0"/>
              <a:t>base functions </a:t>
            </a:r>
            <a:r>
              <a:rPr lang="en-GB" sz="2000" b="0" dirty="0"/>
              <a:t>that are recalled to help with resolving issues</a:t>
            </a:r>
            <a:br>
              <a:rPr lang="en-GB" sz="2000" b="0" dirty="0"/>
            </a:br>
            <a:br>
              <a:rPr lang="en-GB" sz="2000" b="0" dirty="0"/>
            </a:br>
            <a:r>
              <a:rPr lang="en-GB" sz="2000" b="0" dirty="0"/>
              <a:t>-</a:t>
            </a:r>
            <a:r>
              <a:rPr lang="en-GB" sz="2000" dirty="0"/>
              <a:t>Reused</a:t>
            </a:r>
            <a:r>
              <a:rPr lang="en-GB" sz="2000" b="0" dirty="0"/>
              <a:t> </a:t>
            </a:r>
            <a:r>
              <a:rPr lang="en-GB" sz="2000" dirty="0"/>
              <a:t>code</a:t>
            </a:r>
            <a:r>
              <a:rPr lang="en-GB" sz="2000" b="0" dirty="0"/>
              <a:t> as much as possible</a:t>
            </a:r>
            <a:br>
              <a:rPr lang="en-GB" sz="2000" b="0" dirty="0"/>
            </a:br>
            <a:br>
              <a:rPr lang="en-GB" sz="2000" b="0" dirty="0"/>
            </a:br>
            <a:r>
              <a:rPr lang="en-GB" sz="2000" b="0" dirty="0"/>
              <a:t>-Created a </a:t>
            </a:r>
            <a:r>
              <a:rPr lang="en-GB" sz="2000" dirty="0"/>
              <a:t>separate file for the complex algorithm </a:t>
            </a:r>
            <a:endParaRPr lang="en-BE" dirty="0"/>
          </a:p>
        </p:txBody>
      </p:sp>
      <p:pic>
        <p:nvPicPr>
          <p:cNvPr id="8" name="Picture 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E478EB7-DB7E-C352-39C9-4D25B05C9E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6398" y="109074"/>
            <a:ext cx="2591162" cy="6639852"/>
          </a:xfrm>
          <a:prstGeom prst="rect">
            <a:avLst/>
          </a:prstGeom>
        </p:spPr>
      </p:pic>
      <p:pic>
        <p:nvPicPr>
          <p:cNvPr id="10" name="Picture 9" descr="A screen shot of a computer program&#10;&#10;AI-generated content may be incorrect.">
            <a:extLst>
              <a:ext uri="{FF2B5EF4-FFF2-40B4-BE49-F238E27FC236}">
                <a16:creationId xmlns:a16="http://schemas.microsoft.com/office/drawing/2014/main" id="{1C4EE284-502B-AC4B-4165-574B8E94C0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24730" y="109074"/>
            <a:ext cx="3833240" cy="3319926"/>
          </a:xfrm>
          <a:prstGeom prst="rect">
            <a:avLst/>
          </a:prstGeom>
        </p:spPr>
      </p:pic>
      <p:pic>
        <p:nvPicPr>
          <p:cNvPr id="12" name="Picture 11" descr="A screen shot of a computer program&#10;&#10;AI-generated content may be incorrect.">
            <a:extLst>
              <a:ext uri="{FF2B5EF4-FFF2-40B4-BE49-F238E27FC236}">
                <a16:creationId xmlns:a16="http://schemas.microsoft.com/office/drawing/2014/main" id="{02695DD4-D200-2B9B-ABE7-F0219123CF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24730" y="3524250"/>
            <a:ext cx="3833240" cy="3224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5805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435ED4-5FE8-BF1C-1F86-3E70AF173C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3E275A5-5A6D-7592-DB69-EC91C6233876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E275A5-5A6D-7592-DB69-EC91C6233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0A13E6-90F3-9D5C-CB50-E30CCF9AFC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028" y="1801368"/>
            <a:ext cx="4714883" cy="4242245"/>
          </a:xfrm>
        </p:spPr>
        <p:txBody>
          <a:bodyPr vert="horz" rIns="91440"/>
          <a:lstStyle/>
          <a:p>
            <a:r>
              <a:rPr lang="en-US"/>
              <a:t>03</a:t>
            </a:r>
            <a:br>
              <a:rPr lang="en-US"/>
            </a:br>
            <a:r>
              <a:rPr lang="en-US"/>
              <a:t>Recap</a:t>
            </a:r>
          </a:p>
        </p:txBody>
      </p:sp>
      <p:pic>
        <p:nvPicPr>
          <p:cNvPr id="4" name="Afbeelding 4" descr="Afbeelding met tekst, Lettertype, Graphics, grafische vormgeving&#10;&#10;Door AI gegenereerde inhoud is mogelijk onjuist.">
            <a:extLst>
              <a:ext uri="{FF2B5EF4-FFF2-40B4-BE49-F238E27FC236}">
                <a16:creationId xmlns:a16="http://schemas.microsoft.com/office/drawing/2014/main" id="{A1C8B3AC-7F32-B1A9-E49C-6BB2A1AA86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72679" y="-630464"/>
            <a:ext cx="5819321" cy="5819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4361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0CEADC-4CD9-EB88-3C1F-116B35B53B8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1581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0CEADC-4CD9-EB88-3C1F-116B35B53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AB252F-0C18-8EB2-45D4-9D13482D4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>
            <a:normAutofit/>
          </a:bodyPr>
          <a:lstStyle/>
          <a:p>
            <a:r>
              <a:rPr lang="en-GB" sz="1400"/>
              <a:t>On top of creating a complaint management system fulfilling Vanca Groups Wishes we also went beyond with the following:</a:t>
            </a:r>
            <a:br>
              <a:rPr lang="en-GB" sz="1400"/>
            </a:br>
            <a:br>
              <a:rPr lang="en-GB" sz="1400"/>
            </a:br>
            <a:br>
              <a:rPr lang="en-GB" sz="1400"/>
            </a:br>
            <a:br>
              <a:rPr lang="en-GB" sz="1400"/>
            </a:br>
            <a:r>
              <a:rPr lang="en-GB" sz="1400" b="0"/>
              <a:t>- Feature to track lifetime of every complaint</a:t>
            </a:r>
            <a:br>
              <a:rPr lang="en-GB" sz="1400" b="0"/>
            </a:br>
            <a:br>
              <a:rPr lang="en-GB" sz="1400"/>
            </a:br>
            <a:r>
              <a:rPr lang="en-GB" sz="1400" b="0"/>
              <a:t>- Complex complaint auto-assignment</a:t>
            </a:r>
            <a:br>
              <a:rPr lang="en-GB" sz="1400" b="0"/>
            </a:br>
            <a:br>
              <a:rPr lang="en-GB" sz="1400" b="0"/>
            </a:br>
            <a:r>
              <a:rPr lang="en-GB" sz="1400" b="0"/>
              <a:t>- System for keeping form employees deleting data and information</a:t>
            </a:r>
            <a:br>
              <a:rPr lang="en-GB" sz="1400" b="0"/>
            </a:br>
            <a:br>
              <a:rPr lang="en-GB" sz="1400" b="0"/>
            </a:br>
            <a:r>
              <a:rPr lang="en-GB" sz="1400" b="0"/>
              <a:t>- Functional system to divide and distribute complaints to different </a:t>
            </a:r>
            <a:r>
              <a:rPr lang="en-GB" sz="1400" b="0" err="1"/>
              <a:t>businessunits</a:t>
            </a:r>
            <a:br>
              <a:rPr lang="en-GB" sz="1400" b="0"/>
            </a:br>
            <a:br>
              <a:rPr lang="en-GB" sz="1400" b="0"/>
            </a:br>
            <a:r>
              <a:rPr lang="en-GB" sz="1400" b="0"/>
              <a:t>- Extensive </a:t>
            </a:r>
            <a:r>
              <a:rPr lang="en-GB" sz="1400" b="0" err="1"/>
              <a:t>filtersystem</a:t>
            </a:r>
            <a:br>
              <a:rPr lang="en-GB" sz="1400" b="0"/>
            </a:br>
            <a:br>
              <a:rPr lang="en-GB" sz="1400" b="0"/>
            </a:br>
            <a:r>
              <a:rPr lang="en-GB" sz="1400" b="0"/>
              <a:t>- And much more</a:t>
            </a:r>
            <a:endParaRPr lang="en-BE" sz="1400"/>
          </a:p>
        </p:txBody>
      </p:sp>
      <p:pic>
        <p:nvPicPr>
          <p:cNvPr id="11" name="Picture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2AAF3B6-CCDE-C6C0-12E5-7B0E6043FA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3920" y="2532961"/>
            <a:ext cx="4401132" cy="1970254"/>
          </a:xfrm>
          <a:prstGeom prst="rect">
            <a:avLst/>
          </a:prstGeom>
        </p:spPr>
      </p:pic>
      <p:pic>
        <p:nvPicPr>
          <p:cNvPr id="13" name="Picture 1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6892665-FCEF-35B8-86B6-02B52CA694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04587" y="439846"/>
            <a:ext cx="2948713" cy="1620816"/>
          </a:xfrm>
          <a:prstGeom prst="rect">
            <a:avLst/>
          </a:prstGeom>
        </p:spPr>
      </p:pic>
      <p:pic>
        <p:nvPicPr>
          <p:cNvPr id="15" name="Picture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02B91CE-D6B6-CF11-E900-007800D0E1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19601" y="649083"/>
            <a:ext cx="4235451" cy="1231526"/>
          </a:xfrm>
          <a:prstGeom prst="rect">
            <a:avLst/>
          </a:prstGeom>
        </p:spPr>
      </p:pic>
      <p:pic>
        <p:nvPicPr>
          <p:cNvPr id="17" name="Picture 1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C50A1E6-B032-5D6A-9802-6EDE780508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04587" y="2142243"/>
            <a:ext cx="3110877" cy="2751690"/>
          </a:xfrm>
          <a:prstGeom prst="rect">
            <a:avLst/>
          </a:prstGeom>
        </p:spPr>
      </p:pic>
      <p:pic>
        <p:nvPicPr>
          <p:cNvPr id="19" name="Picture 18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3B081DD-514D-1B2F-87B5-6069C593D0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81104" y="5155567"/>
            <a:ext cx="7673948" cy="1124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8844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2FB2F38-479D-C51C-ACDD-AA6A7C81F16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0416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FB2F38-479D-C51C-ACDD-AA6A7C81F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1E436B39-30B8-E193-EF00-869C1FF38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634046"/>
            <a:ext cx="10923935" cy="747714"/>
          </a:xfrm>
        </p:spPr>
        <p:txBody>
          <a:bodyPr vert="horz" rIns="91440"/>
          <a:lstStyle/>
          <a:p>
            <a:r>
              <a:rPr lang="en-GB" dirty="0"/>
              <a:t>DEMO</a:t>
            </a:r>
            <a:endParaRPr lang="en-B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EFD8BD-F259-A10F-69CD-4714DDEEF62F}"/>
              </a:ext>
            </a:extLst>
          </p:cNvPr>
          <p:cNvSpPr/>
          <p:nvPr/>
        </p:nvSpPr>
        <p:spPr>
          <a:xfrm>
            <a:off x="1695449" y="1381760"/>
            <a:ext cx="9305925" cy="5171440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pic>
        <p:nvPicPr>
          <p:cNvPr id="7" name="Demo video Website">
            <a:hlinkClick r:id="" action="ppaction://media"/>
            <a:extLst>
              <a:ext uri="{FF2B5EF4-FFF2-40B4-BE49-F238E27FC236}">
                <a16:creationId xmlns:a16="http://schemas.microsoft.com/office/drawing/2014/main" id="{CD37376A-E88D-ECD7-2856-662E452F9FA4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2016125" y="1490662"/>
            <a:ext cx="8712200" cy="490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685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04224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1CC1EF-9A19-CBDF-D8EC-ED4855B3622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5713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1CC1EF-9A19-CBDF-D8EC-ED4855B36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140C06-9699-0F52-2DCB-AA3764FA7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028" y="5475284"/>
            <a:ext cx="4328499" cy="825501"/>
          </a:xfrm>
        </p:spPr>
        <p:txBody>
          <a:bodyPr vert="horz" rIns="91440"/>
          <a:lstStyle/>
          <a:p>
            <a:r>
              <a:rPr lang="en-US"/>
              <a:t>Q &amp; A session</a:t>
            </a:r>
          </a:p>
        </p:txBody>
      </p:sp>
      <p:pic>
        <p:nvPicPr>
          <p:cNvPr id="29" name="Picture Placeholder 28" descr="A group of people working on computers">
            <a:extLst>
              <a:ext uri="{FF2B5EF4-FFF2-40B4-BE49-F238E27FC236}">
                <a16:creationId xmlns:a16="http://schemas.microsoft.com/office/drawing/2014/main" id="{CBE807C5-4CDA-8579-23C3-DDC36B66F5E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028" y="635000"/>
            <a:ext cx="10923935" cy="4474527"/>
          </a:xfrm>
          <a:blipFill dpi="0" rotWithShape="1">
            <a:blip r:embed="rId6" cstate="print">
              <a:alphaModFix amt="6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83774446-E556-2AC1-4EB5-1A8AC0DE132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25011" y="5460997"/>
            <a:ext cx="6209052" cy="762003"/>
          </a:xfrm>
        </p:spPr>
        <p:txBody>
          <a:bodyPr/>
          <a:lstStyle/>
          <a:p>
            <a:r>
              <a:rPr lang="en-US" sz="2000"/>
              <a:t>Thank you for your attention!</a:t>
            </a:r>
          </a:p>
        </p:txBody>
      </p:sp>
      <p:pic>
        <p:nvPicPr>
          <p:cNvPr id="5" name="Afbeelding 4" descr="Afbeelding met tekst, Lettertype, Graphics, grafische vormgeving&#10;&#10;Door AI gegenereerde inhoud is mogelijk onjuist.">
            <a:extLst>
              <a:ext uri="{FF2B5EF4-FFF2-40B4-BE49-F238E27FC236}">
                <a16:creationId xmlns:a16="http://schemas.microsoft.com/office/drawing/2014/main" id="{C062437E-1706-158C-CB07-F436AA82BD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01601" y="4556350"/>
            <a:ext cx="2571296" cy="2571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7286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Afbeelding met tekst, schermopname, Lettertype, ontwerp&#10;&#10;Door AI gegenereerde inhoud is mogelijk onjuist.">
            <a:extLst>
              <a:ext uri="{FF2B5EF4-FFF2-40B4-BE49-F238E27FC236}">
                <a16:creationId xmlns:a16="http://schemas.microsoft.com/office/drawing/2014/main" id="{AC27BDE2-A2EE-1C5A-932D-E3DC542A66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5981" y="924757"/>
            <a:ext cx="3940040" cy="5378389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F6A9D6F1-AC14-4ADF-B38D-99E9C49E23F5}"/>
              </a:ext>
            </a:extLst>
          </p:cNvPr>
          <p:cNvSpPr txBox="1"/>
          <p:nvPr/>
        </p:nvSpPr>
        <p:spPr>
          <a:xfrm>
            <a:off x="488272" y="462378"/>
            <a:ext cx="609600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3600" b="1">
                <a:solidFill>
                  <a:srgbClr val="FFFFFF"/>
                </a:solidFill>
                <a:latin typeface="Neue Haas Grotesk Text Pro"/>
              </a:rPr>
              <a:t>Login Page</a:t>
            </a:r>
            <a:endParaRPr lang="nl-NL"/>
          </a:p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126625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743DC9-3466-D304-C9E3-B0B74258C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Tijdelijke aanduiding voor inhoud 4" descr="Afbeelding met tekst, schermopname, Lettertype, lijn&#10;&#10;Door AI gegenereerde inhoud is mogelijk onjuist.">
            <a:extLst>
              <a:ext uri="{FF2B5EF4-FFF2-40B4-BE49-F238E27FC236}">
                <a16:creationId xmlns:a16="http://schemas.microsoft.com/office/drawing/2014/main" id="{3AF4E2FD-667B-9CD8-B17D-70F14F9D997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1697555" y="1542192"/>
            <a:ext cx="8793223" cy="4220311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1C6161F4-11D8-3EE3-D4B6-68C5ACB8D957}"/>
              </a:ext>
            </a:extLst>
          </p:cNvPr>
          <p:cNvSpPr txBox="1"/>
          <p:nvPr/>
        </p:nvSpPr>
        <p:spPr>
          <a:xfrm>
            <a:off x="375138" y="416169"/>
            <a:ext cx="609600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3600" b="1"/>
              <a:t>User Dashboard</a:t>
            </a:r>
            <a:endParaRPr lang="en-GB" sz="3600" b="1" dirty="0"/>
          </a:p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715748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88AEB3-8EB5-AB10-A35C-FF281D45E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Tijdelijke aanduiding voor inhoud 4" descr="Afbeelding met tekst, elektronica, schermopname, software&#10;&#10;Door AI gegenereerde inhoud is mogelijk onjuist.">
            <a:extLst>
              <a:ext uri="{FF2B5EF4-FFF2-40B4-BE49-F238E27FC236}">
                <a16:creationId xmlns:a16="http://schemas.microsoft.com/office/drawing/2014/main" id="{06F4C0DC-6084-063D-DB32-CDE54650004A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7987538" y="608"/>
            <a:ext cx="3088843" cy="6840417"/>
          </a:xfrm>
          <a:prstGeom prst="rect">
            <a:avLst/>
          </a:prstGeom>
        </p:spPr>
      </p:pic>
      <p:pic>
        <p:nvPicPr>
          <p:cNvPr id="6" name="Afbeelding 5" descr="Afbeelding met tekst, schermopname, Lettertype, nummer&#10;&#10;Door AI gegenereerde inhoud is mogelijk onjuist.">
            <a:extLst>
              <a:ext uri="{FF2B5EF4-FFF2-40B4-BE49-F238E27FC236}">
                <a16:creationId xmlns:a16="http://schemas.microsoft.com/office/drawing/2014/main" id="{34030DA2-527E-5299-BA10-4FDE2C2DE5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646" y="2254896"/>
            <a:ext cx="7233139" cy="2330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6449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9321D6-5106-8468-B028-2864021B2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8" name="Tijdelijke aanduiding voor inhoud 7" descr="Afbeelding met tekst, schermopname, Lettertype, diagram&#10;&#10;Door AI gegenereerde inhoud is mogelijk onjuist.">
            <a:extLst>
              <a:ext uri="{FF2B5EF4-FFF2-40B4-BE49-F238E27FC236}">
                <a16:creationId xmlns:a16="http://schemas.microsoft.com/office/drawing/2014/main" id="{D7606515-1C29-2B72-2E7A-4C68D194AE5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1081159" y="1391557"/>
            <a:ext cx="9773059" cy="4771749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8699F7E3-EAD6-86F1-E7D8-1A59C32F5273}"/>
              </a:ext>
            </a:extLst>
          </p:cNvPr>
          <p:cNvSpPr txBox="1"/>
          <p:nvPr/>
        </p:nvSpPr>
        <p:spPr>
          <a:xfrm>
            <a:off x="199748" y="336612"/>
            <a:ext cx="609600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3600" b="1">
                <a:solidFill>
                  <a:srgbClr val="FFFFFF"/>
                </a:solidFill>
                <a:latin typeface="Neue Haas Grotesk Text Pro"/>
                <a:ea typeface="Neue Haas Grotesk Text Pro"/>
                <a:cs typeface="Neue Haas Grotesk Text Pro"/>
              </a:rPr>
              <a:t>Key User</a:t>
            </a:r>
            <a:r>
              <a:rPr lang="en-GB" sz="3600" b="1" i="0" u="none" strike="noStrike" baseline="0">
                <a:solidFill>
                  <a:srgbClr val="FFFFFF"/>
                </a:solidFill>
                <a:latin typeface="Neue Haas Grotesk Text Pro"/>
                <a:ea typeface="Neue Haas Grotesk Text Pro"/>
                <a:cs typeface="Neue Haas Grotesk Text Pro"/>
              </a:rPr>
              <a:t> Dashboard</a:t>
            </a:r>
            <a:endParaRPr lang="nl-NL"/>
          </a:p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5787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70B815-C15D-FF1E-66EF-11566B0893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CBA1CE-BDB1-6773-A781-7BF4208CF1B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268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CBA1CE-BDB1-6773-A781-7BF4208CF1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354DB6-CB75-E1BE-A9C3-11C423172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660" y="654240"/>
            <a:ext cx="3774301" cy="746760"/>
          </a:xfrm>
        </p:spPr>
        <p:txBody>
          <a:bodyPr vert="horz" rIns="91440"/>
          <a:lstStyle/>
          <a:p>
            <a:r>
              <a:rPr lang="en-US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B9AB40-90AB-4082-56C9-F9FCA5CE61F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795592" y="1748475"/>
            <a:ext cx="3762370" cy="4107811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r>
              <a:rPr lang="en-US"/>
              <a:t>About the brand</a:t>
            </a:r>
          </a:p>
          <a:p>
            <a:pPr lvl="1"/>
            <a:r>
              <a:rPr lang="en-US"/>
              <a:t>Problem</a:t>
            </a:r>
          </a:p>
          <a:p>
            <a:pPr lvl="1"/>
            <a:r>
              <a:rPr lang="en-US"/>
              <a:t>ERD</a:t>
            </a:r>
          </a:p>
          <a:p>
            <a:r>
              <a:rPr lang="en-US"/>
              <a:t>Website</a:t>
            </a:r>
          </a:p>
          <a:p>
            <a:pPr lvl="1"/>
            <a:r>
              <a:rPr lang="en-US"/>
              <a:t>Solution</a:t>
            </a:r>
          </a:p>
          <a:p>
            <a:pPr lvl="1"/>
            <a:r>
              <a:rPr lang="en-US"/>
              <a:t>Code structure</a:t>
            </a:r>
          </a:p>
          <a:p>
            <a:r>
              <a:rPr lang="en-US"/>
              <a:t>Recap</a:t>
            </a:r>
          </a:p>
          <a:p>
            <a:pPr lvl="1"/>
            <a:r>
              <a:rPr lang="en-US"/>
              <a:t>Above and beyond</a:t>
            </a:r>
          </a:p>
          <a:p>
            <a:pPr lvl="1"/>
            <a:r>
              <a:rPr lang="en-US"/>
              <a:t>Q&amp;A session</a:t>
            </a:r>
          </a:p>
          <a:p>
            <a:pPr lvl="1"/>
            <a:endParaRPr lang="en-US"/>
          </a:p>
        </p:txBody>
      </p:sp>
      <p:pic>
        <p:nvPicPr>
          <p:cNvPr id="7" name="Afbeelding 6" descr="Afbeelding met tekst, Lettertype, Graphics, grafische vormgeving&#10;&#10;Door AI gegenereerde inhoud is mogelijk onjuist.">
            <a:extLst>
              <a:ext uri="{FF2B5EF4-FFF2-40B4-BE49-F238E27FC236}">
                <a16:creationId xmlns:a16="http://schemas.microsoft.com/office/drawing/2014/main" id="{6C114C63-628B-98A2-9F9C-E6DAA2D48E8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-387" t="41701" r="484" b="30165"/>
          <a:stretch>
            <a:fillRect/>
          </a:stretch>
        </p:blipFill>
        <p:spPr>
          <a:xfrm>
            <a:off x="751692" y="1704707"/>
            <a:ext cx="5101863" cy="1436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1436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79560A-1C00-AC82-4154-F2C23029FC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001DB9-6692-7D0E-972F-5F263B49CA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594001B3-0722-5393-A667-AA9D6CB1C0FD}"/>
              </a:ext>
            </a:extLst>
          </p:cNvPr>
          <p:cNvSpPr txBox="1"/>
          <p:nvPr/>
        </p:nvSpPr>
        <p:spPr>
          <a:xfrm>
            <a:off x="199748" y="336612"/>
            <a:ext cx="609600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3600" b="1">
                <a:solidFill>
                  <a:srgbClr val="FFFFFF"/>
                </a:solidFill>
                <a:latin typeface="Neue Haas Grotesk Text Pro"/>
                <a:ea typeface="Neue Haas Grotesk Text Pro"/>
                <a:cs typeface="Neue Haas Grotesk Text Pro"/>
              </a:rPr>
              <a:t>Admin</a:t>
            </a:r>
            <a:r>
              <a:rPr lang="en-GB" sz="3600" b="1" i="0" u="none" strike="noStrike" baseline="0">
                <a:solidFill>
                  <a:srgbClr val="FFFFFF"/>
                </a:solidFill>
                <a:latin typeface="Neue Haas Grotesk Text Pro"/>
                <a:ea typeface="Neue Haas Grotesk Text Pro"/>
                <a:cs typeface="Neue Haas Grotesk Text Pro"/>
              </a:rPr>
              <a:t> Dashboard</a:t>
            </a:r>
            <a:endParaRPr lang="nl-NL"/>
          </a:p>
          <a:p>
            <a:pPr algn="ctr"/>
            <a:endParaRPr lang="nl-NL"/>
          </a:p>
        </p:txBody>
      </p:sp>
      <p:pic>
        <p:nvPicPr>
          <p:cNvPr id="5" name="Tijdelijke aanduiding voor inhoud 4" descr="Afbeelding met tekst, schermopname, Lettertype, Rechthoek&#10;&#10;Door AI gegenereerde inhoud is mogelijk onjuist.">
            <a:extLst>
              <a:ext uri="{FF2B5EF4-FFF2-40B4-BE49-F238E27FC236}">
                <a16:creationId xmlns:a16="http://schemas.microsoft.com/office/drawing/2014/main" id="{FCB5F292-C3D9-0A03-C54E-7A259562A02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1103336" y="1108439"/>
            <a:ext cx="9987525" cy="5193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1191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25CB25-F357-AFB9-1FE1-91ADB520C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Tijdelijke aanduiding voor inhoud 4" descr="Afbeelding met tekst, schermopname, nummer, software&#10;&#10;Door AI gegenereerde inhoud is mogelijk onjuist.">
            <a:extLst>
              <a:ext uri="{FF2B5EF4-FFF2-40B4-BE49-F238E27FC236}">
                <a16:creationId xmlns:a16="http://schemas.microsoft.com/office/drawing/2014/main" id="{9379BC97-4FDC-7E0A-EB93-EA38C90944DB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rcRect t="886" r="89"/>
          <a:stretch>
            <a:fillRect/>
          </a:stretch>
        </p:blipFill>
        <p:spPr>
          <a:xfrm>
            <a:off x="1331444" y="858897"/>
            <a:ext cx="9538830" cy="5703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5912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510A9A-03A8-3BD5-F78F-EAB034337C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3AD000-5B49-C431-0FF4-10D821237B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Tijdelijke aanduiding voor inhoud 5" descr="Afbeelding met tekst, schermopname, Lettertype, nummer&#10;&#10;Door AI gegenereerde inhoud is mogelijk onjuist.">
            <a:extLst>
              <a:ext uri="{FF2B5EF4-FFF2-40B4-BE49-F238E27FC236}">
                <a16:creationId xmlns:a16="http://schemas.microsoft.com/office/drawing/2014/main" id="{5544E0EF-C538-1F01-F08C-174A684CF803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507280" y="5692749"/>
            <a:ext cx="11460993" cy="842895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56F886E2-1C63-8F30-1CCF-EBF79257235B}"/>
              </a:ext>
            </a:extLst>
          </p:cNvPr>
          <p:cNvSpPr txBox="1"/>
          <p:nvPr/>
        </p:nvSpPr>
        <p:spPr>
          <a:xfrm>
            <a:off x="140677" y="298939"/>
            <a:ext cx="609600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3600" b="1">
                <a:solidFill>
                  <a:srgbClr val="FFFFFF"/>
                </a:solidFill>
                <a:latin typeface="Neue Haas Grotesk Text Pro"/>
              </a:rPr>
              <a:t>CSV Export </a:t>
            </a:r>
            <a:endParaRPr lang="nl-NL"/>
          </a:p>
          <a:p>
            <a:pPr algn="ctr"/>
            <a:endParaRPr lang="nl-NL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E065460-9689-3777-25BB-55A4DF08DC80}"/>
              </a:ext>
            </a:extLst>
          </p:cNvPr>
          <p:cNvSpPr txBox="1"/>
          <p:nvPr/>
        </p:nvSpPr>
        <p:spPr>
          <a:xfrm>
            <a:off x="633046" y="1049215"/>
            <a:ext cx="7737230" cy="49244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000" b="1">
                <a:latin typeface="Neue Haas Grotesk Text Pro"/>
              </a:rPr>
              <a:t>What is in the CVS export?</a:t>
            </a:r>
            <a:r>
              <a:rPr lang="en-GB" sz="1600" b="1" dirty="0">
                <a:latin typeface="Neue Haas Grotesk Text Pro"/>
              </a:rPr>
              <a:t> </a:t>
            </a:r>
            <a:endParaRPr lang="en-GB" sz="1600" b="1"/>
          </a:p>
          <a:p>
            <a:pPr marL="342900" indent="-342900">
              <a:buFont typeface="Calibri"/>
              <a:buChar char="-"/>
            </a:pPr>
            <a:r>
              <a:rPr lang="en-GB" sz="1600" b="1"/>
              <a:t>Klacht ID 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Verantwoordelijke ID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Verantwoordelijke Naam 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Klant ID 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Klantnaam 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Ordernummer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Aantal eenheden 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Categorie ID (probeemcategorie) 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Categorie type 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Status 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Mogelijke oorzaak 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Klacht Omschrijving 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Priorteit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Datum melding 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Business Unit</a:t>
            </a:r>
          </a:p>
          <a:p>
            <a:pPr marL="342900" indent="-342900">
              <a:buFont typeface="Calibri"/>
              <a:buChar char="-"/>
            </a:pPr>
            <a:r>
              <a:rPr lang="en-GB" sz="1600" b="1"/>
              <a:t>Ondernemingsnummer </a:t>
            </a:r>
          </a:p>
          <a:p>
            <a:pPr marL="342900" indent="-342900">
              <a:buFont typeface="Calibri"/>
              <a:buChar char="-"/>
            </a:pPr>
            <a:endParaRPr lang="en-GB" sz="2000" b="1" dirty="0"/>
          </a:p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34047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B87D02-B85C-E5CC-78C9-FBF054BEA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Tijdelijke aanduiding voor inhoud 4" descr="Afbeelding met tekst, schermopname, Lettertype, nummer&#10;&#10;Door AI gegenereerde inhoud is mogelijk onjuist.">
            <a:extLst>
              <a:ext uri="{FF2B5EF4-FFF2-40B4-BE49-F238E27FC236}">
                <a16:creationId xmlns:a16="http://schemas.microsoft.com/office/drawing/2014/main" id="{50A34AEB-98DD-2E85-9B17-0B74978DC5D7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862875" y="1471855"/>
            <a:ext cx="10462584" cy="4413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22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9AFEE9D-5880-0BA5-5D9C-F45AE46B0F3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85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AFEE9D-5880-0BA5-5D9C-F45AE46B0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58EAF8-377A-5769-2DAD-849DAA806B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028" y="1801368"/>
            <a:ext cx="4714883" cy="4242245"/>
          </a:xfrm>
        </p:spPr>
        <p:txBody>
          <a:bodyPr vert="horz" rIns="91440"/>
          <a:lstStyle/>
          <a:p>
            <a:r>
              <a:rPr lang="en-US"/>
              <a:t>01</a:t>
            </a:r>
            <a:br>
              <a:rPr lang="en-US"/>
            </a:br>
            <a:r>
              <a:rPr lang="en-US"/>
              <a:t>About the brand</a:t>
            </a:r>
          </a:p>
        </p:txBody>
      </p:sp>
      <p:pic>
        <p:nvPicPr>
          <p:cNvPr id="4" name="Afbeelding 4" descr="Afbeelding met tekst, Lettertype, Graphics, grafische vormgeving&#10;&#10;Door AI gegenereerde inhoud is mogelijk onjuist.">
            <a:extLst>
              <a:ext uri="{FF2B5EF4-FFF2-40B4-BE49-F238E27FC236}">
                <a16:creationId xmlns:a16="http://schemas.microsoft.com/office/drawing/2014/main" id="{9DAAF36B-5DC0-2BFF-A8D9-7F957155F0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72679" y="-630464"/>
            <a:ext cx="5819321" cy="5819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1530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C7FEAA5-863F-41FB-4BCC-B65CA0D353A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838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7FEAA5-863F-41FB-4BCC-B65CA0D353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A616CB-D5F6-6FB0-E5C0-28F232320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9302" y="267331"/>
            <a:ext cx="5652462" cy="733428"/>
          </a:xfrm>
        </p:spPr>
        <p:txBody>
          <a:bodyPr vert="horz" rIns="91440"/>
          <a:lstStyle/>
          <a:p>
            <a:r>
              <a:rPr lang="en-US" dirty="0" err="1"/>
              <a:t>Placabois</a:t>
            </a:r>
            <a:r>
              <a:rPr lang="en-US" dirty="0"/>
              <a:t>’ problem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758B31D-2E06-0E03-5031-E39D3569459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829302" y="1000759"/>
            <a:ext cx="5652462" cy="543814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 err="1"/>
              <a:t>Placabois</a:t>
            </a:r>
            <a:r>
              <a:rPr lang="en-US" b="1" dirty="0"/>
              <a:t>, </a:t>
            </a:r>
            <a:r>
              <a:rPr lang="en-US" dirty="0"/>
              <a:t>just like many production companies, had an issue concerning the </a:t>
            </a:r>
            <a:r>
              <a:rPr lang="en-US" b="1" dirty="0"/>
              <a:t>management of the complaints </a:t>
            </a:r>
            <a:r>
              <a:rPr lang="en-US" dirty="0"/>
              <a:t>within the firm.</a:t>
            </a:r>
            <a:r>
              <a:rPr lang="en-US" b="1" dirty="0"/>
              <a:t> </a:t>
            </a:r>
          </a:p>
          <a:p>
            <a:pPr marL="0" indent="0">
              <a:buNone/>
            </a:pPr>
            <a:r>
              <a:rPr lang="en-US" dirty="0"/>
              <a:t>This is where </a:t>
            </a:r>
            <a:r>
              <a:rPr lang="en-US" b="1" dirty="0" err="1"/>
              <a:t>Treesolutions</a:t>
            </a:r>
            <a:r>
              <a:rPr lang="en-US" dirty="0"/>
              <a:t> came in to help. We provided a </a:t>
            </a:r>
            <a:r>
              <a:rPr lang="en-US" b="1" dirty="0"/>
              <a:t>website</a:t>
            </a:r>
            <a:r>
              <a:rPr lang="en-US" dirty="0"/>
              <a:t> that can:</a:t>
            </a:r>
          </a:p>
          <a:p>
            <a:pPr marL="0" indent="0">
              <a:buNone/>
            </a:pPr>
            <a:r>
              <a:rPr lang="en-US" dirty="0"/>
              <a:t>		- Keep stock of complaint data</a:t>
            </a:r>
          </a:p>
          <a:p>
            <a:pPr marL="0" indent="0">
              <a:buNone/>
            </a:pPr>
            <a:r>
              <a:rPr lang="en-US" dirty="0"/>
              <a:t>		- Be used to manage the lifetime of a 		complaint</a:t>
            </a:r>
          </a:p>
          <a:p>
            <a:pPr marL="0" indent="0">
              <a:buNone/>
            </a:pPr>
            <a:r>
              <a:rPr lang="en-US" dirty="0"/>
              <a:t>		- Help gain valuable insights about 		complaint dat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All while being </a:t>
            </a:r>
            <a:r>
              <a:rPr lang="en-US" b="1" dirty="0"/>
              <a:t>as applicable as possible for firms</a:t>
            </a:r>
            <a:r>
              <a:rPr lang="en-US" dirty="0"/>
              <a:t>. </a:t>
            </a:r>
          </a:p>
          <a:p>
            <a:pPr marL="0" indent="0">
              <a:buNone/>
            </a:pPr>
            <a:r>
              <a:rPr lang="en-US" dirty="0" err="1"/>
              <a:t>Placabois</a:t>
            </a:r>
            <a:r>
              <a:rPr lang="en-US" dirty="0"/>
              <a:t> insisted on using our site within the whole enterprise group </a:t>
            </a:r>
            <a:r>
              <a:rPr lang="en-US" b="1" dirty="0"/>
              <a:t>Vanca Group </a:t>
            </a:r>
            <a:r>
              <a:rPr lang="en-US" dirty="0"/>
              <a:t>of which they are a part.</a:t>
            </a:r>
          </a:p>
        </p:txBody>
      </p:sp>
      <p:pic>
        <p:nvPicPr>
          <p:cNvPr id="1028" name="Picture 4" descr="Welkom bij Placabois | Placabois">
            <a:extLst>
              <a:ext uri="{FF2B5EF4-FFF2-40B4-BE49-F238E27FC236}">
                <a16:creationId xmlns:a16="http://schemas.microsoft.com/office/drawing/2014/main" id="{9C36444E-E4ED-9795-4E1D-35E17DB4E6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90" y="4114540"/>
            <a:ext cx="3585351" cy="1256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5017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30372BA-DCFE-5E62-8DF9-EAA2255A3D0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21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0372BA-DCFE-5E62-8DF9-EAA2255A3D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7FB24F-4151-645C-8D71-A85984E9B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3746" y="620713"/>
            <a:ext cx="4304217" cy="1127762"/>
          </a:xfrm>
        </p:spPr>
        <p:txBody>
          <a:bodyPr vert="horz" rIns="91440">
            <a:noAutofit/>
          </a:bodyPr>
          <a:lstStyle/>
          <a:p>
            <a:r>
              <a:rPr lang="en-US" dirty="0" err="1"/>
              <a:t>Placabois</a:t>
            </a:r>
            <a:r>
              <a:rPr lang="en-US" dirty="0"/>
              <a:t>’ User Stori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92F16C-1029-AD0E-E5F8-D4A35E431AF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53745" y="2129474"/>
            <a:ext cx="4304217" cy="37277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As a team we tried to tackle as many of </a:t>
            </a:r>
            <a:r>
              <a:rPr lang="en-US" sz="2000" dirty="0" err="1"/>
              <a:t>Placabois</a:t>
            </a:r>
            <a:r>
              <a:rPr lang="en-US" sz="2000" dirty="0"/>
              <a:t>’ User stories as possible, even going beyond!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EC155267-DA83-85A0-A972-85AB89F8C4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3301953"/>
              </p:ext>
            </p:extLst>
          </p:nvPr>
        </p:nvGraphicFramePr>
        <p:xfrm>
          <a:off x="933646" y="79408"/>
          <a:ext cx="4880012" cy="6699184"/>
        </p:xfrm>
        <a:graphic>
          <a:graphicData uri="http://schemas.openxmlformats.org/drawingml/2006/table">
            <a:tbl>
              <a:tblPr/>
              <a:tblGrid>
                <a:gridCol w="1220003">
                  <a:extLst>
                    <a:ext uri="{9D8B030D-6E8A-4147-A177-3AD203B41FA5}">
                      <a16:colId xmlns:a16="http://schemas.microsoft.com/office/drawing/2014/main" val="2276270384"/>
                    </a:ext>
                  </a:extLst>
                </a:gridCol>
                <a:gridCol w="1220003">
                  <a:extLst>
                    <a:ext uri="{9D8B030D-6E8A-4147-A177-3AD203B41FA5}">
                      <a16:colId xmlns:a16="http://schemas.microsoft.com/office/drawing/2014/main" val="110189570"/>
                    </a:ext>
                  </a:extLst>
                </a:gridCol>
                <a:gridCol w="1220003">
                  <a:extLst>
                    <a:ext uri="{9D8B030D-6E8A-4147-A177-3AD203B41FA5}">
                      <a16:colId xmlns:a16="http://schemas.microsoft.com/office/drawing/2014/main" val="914077079"/>
                    </a:ext>
                  </a:extLst>
                </a:gridCol>
                <a:gridCol w="1220003">
                  <a:extLst>
                    <a:ext uri="{9D8B030D-6E8A-4147-A177-3AD203B41FA5}">
                      <a16:colId xmlns:a16="http://schemas.microsoft.com/office/drawing/2014/main" val="3665664437"/>
                    </a:ext>
                  </a:extLst>
                </a:gridCol>
              </a:tblGrid>
              <a:tr h="248753"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er 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 Want to Action 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 that benefit 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ioriteit 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8547042"/>
                  </a:ext>
                </a:extLst>
              </a:tr>
              <a:tr h="531817"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tegenwoordiger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loggen &amp; zichzelf identificeren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 klacht correct aan mijn naam gekoppeld wordt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BE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BE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589665"/>
                  </a:ext>
                </a:extLst>
              </a:tr>
              <a:tr h="531817"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tegenwoordiger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en klant selecteren/ingeven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 klacht aan de juiste klant/order gelinkt wordt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BE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BE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6791963"/>
                  </a:ext>
                </a:extLst>
              </a:tr>
              <a:tr h="814882"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tegenwoordiger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en klacht registreren (klantgegevens + probleemdetails + foto's uploaden)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angrijke info niet verloren gaat en de klacht volledig en correct wordt doorgegeven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BE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BE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097176"/>
                  </a:ext>
                </a:extLst>
              </a:tr>
              <a:tr h="531817"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ral Manager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en automatische melding ontvangen bij nieuwe klacht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el kan beoordelen en prioriteit kan inschatten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BE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BE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2890012"/>
                  </a:ext>
                </a:extLst>
              </a:tr>
              <a:tr h="814882"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ral Manager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en klacht openen en beoordelen (goedkeuren, afwijzen, of doorsturen naar fabrikant)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 juiste interne opvolging kan gebeuren afhankelijk van type klacht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BE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BE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0876420"/>
                  </a:ext>
                </a:extLst>
              </a:tr>
              <a:tr h="531817"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ral Manager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en nodig klacht als ‘prioritair’ aanduiden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itieke klachten sneller verwerkt worden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BE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BE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4430922"/>
                  </a:ext>
                </a:extLst>
              </a:tr>
              <a:tr h="673350"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ral Manager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ort van klachten maken (Excel / CSV)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pportage &amp; structurele verbeteringen mogelijk maken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BE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BE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8285169"/>
                  </a:ext>
                </a:extLst>
              </a:tr>
              <a:tr h="531817"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nal Sales/Admin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en automatische e-mail ontvangen bij goedgekeurde klacht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 de klacht kan verwerken in het ERP of opvolgsysteem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BE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BE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9851859"/>
                  </a:ext>
                </a:extLst>
              </a:tr>
              <a:tr h="673350"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nal Sales/Admin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 status van de klacht kunnen updaten (“in behandeling”, “afgehandeld”, …)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edereen altijd zicht heeft op de voortgang van de klacht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BE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en-BE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8626369"/>
                  </a:ext>
                </a:extLst>
              </a:tr>
              <a:tr h="814882"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/GM</a:t>
                      </a:r>
                      <a:endParaRPr lang="en-US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chten kunnen filteren op klant, categorie, datum en status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nl-NL" sz="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ends te kunnen analyseren en wederkerende problemen op te volgen</a:t>
                      </a:r>
                      <a:endParaRPr lang="nl-NL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t">
                        <a:buNone/>
                      </a:pPr>
                      <a:r>
                        <a:rPr lang="en-BE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en-BE" sz="800">
                        <a:effectLst/>
                      </a:endParaRPr>
                    </a:p>
                  </a:txBody>
                  <a:tcPr marL="29829" marR="29829" marT="29829" marB="2982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534610"/>
                  </a:ext>
                </a:extLst>
              </a:tr>
            </a:tbl>
          </a:graphicData>
        </a:graphic>
      </p:graphicFrame>
      <p:sp>
        <p:nvSpPr>
          <p:cNvPr id="11" name="Rectangle 1">
            <a:extLst>
              <a:ext uri="{FF2B5EF4-FFF2-40B4-BE49-F238E27FC236}">
                <a16:creationId xmlns:a16="http://schemas.microsoft.com/office/drawing/2014/main" id="{71175275-FDD9-18CF-1601-F1442DF987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969685" y="2206683"/>
            <a:ext cx="22099571" cy="8217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1752306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4DD67B9-E14C-6D1C-D9A2-FB9BF77DE64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1929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DD67B9-E14C-6D1C-D9A2-FB9BF77DE6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003888-2E01-139F-AF0B-C11CC9DC1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rIns="91440"/>
          <a:lstStyle/>
          <a:p>
            <a:r>
              <a:rPr lang="en-GB"/>
              <a:t>THE DATAMODEL BEHIND OUR SOLUTION</a:t>
            </a:r>
            <a:endParaRPr lang="en-BE"/>
          </a:p>
        </p:txBody>
      </p:sp>
      <p:pic>
        <p:nvPicPr>
          <p:cNvPr id="10" name="Picture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ECAFF021-C4F1-EE37-0C94-98075A4F5E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715" y="1161914"/>
            <a:ext cx="10103369" cy="527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6925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0697C-96D7-11CA-80E1-E64B2E100A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B82CA26-F31B-850E-70A0-75B5B08A8C5A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82CA26-F31B-850E-70A0-75B5B08A8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061CB7-260F-53F7-81F1-F7CE22220E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028" y="1801368"/>
            <a:ext cx="4714883" cy="4242245"/>
          </a:xfrm>
        </p:spPr>
        <p:txBody>
          <a:bodyPr vert="horz" rIns="91440"/>
          <a:lstStyle/>
          <a:p>
            <a:r>
              <a:rPr lang="en-US"/>
              <a:t>02</a:t>
            </a:r>
            <a:br>
              <a:rPr lang="en-US"/>
            </a:br>
            <a:r>
              <a:rPr lang="en-US"/>
              <a:t>Website</a:t>
            </a:r>
          </a:p>
        </p:txBody>
      </p:sp>
      <p:pic>
        <p:nvPicPr>
          <p:cNvPr id="4" name="Afbeelding 4" descr="Afbeelding met tekst, Lettertype, Graphics, grafische vormgeving&#10;&#10;Door AI gegenereerde inhoud is mogelijk onjuist.">
            <a:extLst>
              <a:ext uri="{FF2B5EF4-FFF2-40B4-BE49-F238E27FC236}">
                <a16:creationId xmlns:a16="http://schemas.microsoft.com/office/drawing/2014/main" id="{F4F3078E-8CDB-EE47-D7A9-0AB6A843FF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72679" y="-630464"/>
            <a:ext cx="5819321" cy="5819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267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9F8B767-BF12-E55E-1944-095D3C0A71B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41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F8B767-BF12-E55E-1944-095D3C0A7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Gewinkelte Verbindung 21">
            <a:extLst>
              <a:ext uri="{FF2B5EF4-FFF2-40B4-BE49-F238E27FC236}">
                <a16:creationId xmlns:a16="http://schemas.microsoft.com/office/drawing/2014/main" id="{5019C245-C6F5-BE9D-A58F-36A47749C2EB}"/>
              </a:ext>
            </a:extLst>
          </p:cNvPr>
          <p:cNvCxnSpPr>
            <a:cxnSpLocks/>
            <a:stCxn id="16" idx="2"/>
            <a:endCxn id="29" idx="0"/>
          </p:cNvCxnSpPr>
          <p:nvPr/>
        </p:nvCxnSpPr>
        <p:spPr bwMode="gray">
          <a:xfrm rot="5400000">
            <a:off x="3979368" y="-791730"/>
            <a:ext cx="309113" cy="3960129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22">
            <a:extLst>
              <a:ext uri="{FF2B5EF4-FFF2-40B4-BE49-F238E27FC236}">
                <a16:creationId xmlns:a16="http://schemas.microsoft.com/office/drawing/2014/main" id="{36D8BFEE-AAE8-86DD-9259-0F85F2DB5780}"/>
              </a:ext>
            </a:extLst>
          </p:cNvPr>
          <p:cNvCxnSpPr>
            <a:cxnSpLocks/>
            <a:stCxn id="16" idx="2"/>
            <a:endCxn id="26" idx="0"/>
          </p:cNvCxnSpPr>
          <p:nvPr/>
        </p:nvCxnSpPr>
        <p:spPr bwMode="gray">
          <a:xfrm flipH="1">
            <a:off x="6110382" y="1033778"/>
            <a:ext cx="3606" cy="309113"/>
          </a:xfrm>
          <a:prstGeom prst="straightConnector1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winkelte Verbindung 23">
            <a:extLst>
              <a:ext uri="{FF2B5EF4-FFF2-40B4-BE49-F238E27FC236}">
                <a16:creationId xmlns:a16="http://schemas.microsoft.com/office/drawing/2014/main" id="{08ABF56F-D8C4-FB0C-D15F-6D5007EED49C}"/>
              </a:ext>
            </a:extLst>
          </p:cNvPr>
          <p:cNvCxnSpPr>
            <a:cxnSpLocks/>
            <a:stCxn id="16" idx="2"/>
            <a:endCxn id="32" idx="0"/>
          </p:cNvCxnSpPr>
          <p:nvPr/>
        </p:nvCxnSpPr>
        <p:spPr bwMode="gray">
          <a:xfrm rot="16200000" flipH="1">
            <a:off x="7937693" y="-789927"/>
            <a:ext cx="309113" cy="3956522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9585A073-D6A6-F3A2-F1F3-B1D11EF086FE}"/>
              </a:ext>
            </a:extLst>
          </p:cNvPr>
          <p:cNvSpPr txBox="1">
            <a:spLocks/>
          </p:cNvSpPr>
          <p:nvPr/>
        </p:nvSpPr>
        <p:spPr bwMode="gray">
          <a:xfrm>
            <a:off x="4545043" y="288578"/>
            <a:ext cx="3137890" cy="7452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chemeClr val="tx1"/>
                </a:solidFill>
                <a:latin typeface="+mn-lt"/>
              </a:rPr>
              <a:t>WEBSITE</a:t>
            </a:r>
          </a:p>
        </p:txBody>
      </p:sp>
      <p:cxnSp>
        <p:nvCxnSpPr>
          <p:cNvPr id="17" name="Gewinkelte Verbindung 32">
            <a:extLst>
              <a:ext uri="{FF2B5EF4-FFF2-40B4-BE49-F238E27FC236}">
                <a16:creationId xmlns:a16="http://schemas.microsoft.com/office/drawing/2014/main" id="{7E07B740-44A0-8882-BF45-A1EC047FCB6B}"/>
              </a:ext>
            </a:extLst>
          </p:cNvPr>
          <p:cNvCxnSpPr>
            <a:cxnSpLocks/>
            <a:endCxn id="27" idx="2"/>
          </p:cNvCxnSpPr>
          <p:nvPr/>
        </p:nvCxnSpPr>
        <p:spPr bwMode="gray">
          <a:xfrm rot="10800000">
            <a:off x="4721501" y="1960028"/>
            <a:ext cx="176459" cy="52323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winkelte Verbindung 33">
            <a:extLst>
              <a:ext uri="{FF2B5EF4-FFF2-40B4-BE49-F238E27FC236}">
                <a16:creationId xmlns:a16="http://schemas.microsoft.com/office/drawing/2014/main" id="{CD664CAB-4B34-FF48-D7AF-C11F1D481BD3}"/>
              </a:ext>
            </a:extLst>
          </p:cNvPr>
          <p:cNvCxnSpPr>
            <a:cxnSpLocks/>
            <a:endCxn id="27" idx="2"/>
          </p:cNvCxnSpPr>
          <p:nvPr/>
        </p:nvCxnSpPr>
        <p:spPr bwMode="gray">
          <a:xfrm rot="10800000">
            <a:off x="4721500" y="1960028"/>
            <a:ext cx="176458" cy="1421814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winkelte Verbindung 33">
            <a:extLst>
              <a:ext uri="{FF2B5EF4-FFF2-40B4-BE49-F238E27FC236}">
                <a16:creationId xmlns:a16="http://schemas.microsoft.com/office/drawing/2014/main" id="{288DAE57-8CDF-2786-4D98-95F3FE9AB2C8}"/>
              </a:ext>
            </a:extLst>
          </p:cNvPr>
          <p:cNvCxnSpPr>
            <a:cxnSpLocks/>
          </p:cNvCxnSpPr>
          <p:nvPr/>
        </p:nvCxnSpPr>
        <p:spPr bwMode="gray">
          <a:xfrm rot="10800000">
            <a:off x="4721499" y="3396166"/>
            <a:ext cx="176459" cy="2353167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29">
            <a:extLst>
              <a:ext uri="{FF2B5EF4-FFF2-40B4-BE49-F238E27FC236}">
                <a16:creationId xmlns:a16="http://schemas.microsoft.com/office/drawing/2014/main" id="{013D6B60-6F1C-DF8A-8F48-7FCF940DB3D8}"/>
              </a:ext>
            </a:extLst>
          </p:cNvPr>
          <p:cNvCxnSpPr>
            <a:cxnSpLocks/>
            <a:endCxn id="30" idx="2"/>
          </p:cNvCxnSpPr>
          <p:nvPr/>
        </p:nvCxnSpPr>
        <p:spPr bwMode="gray">
          <a:xfrm rot="10800000">
            <a:off x="594071" y="1960028"/>
            <a:ext cx="166832" cy="52329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30">
            <a:extLst>
              <a:ext uri="{FF2B5EF4-FFF2-40B4-BE49-F238E27FC236}">
                <a16:creationId xmlns:a16="http://schemas.microsoft.com/office/drawing/2014/main" id="{59DD90E9-40E7-F250-697F-7F3119C7BD22}"/>
              </a:ext>
            </a:extLst>
          </p:cNvPr>
          <p:cNvCxnSpPr>
            <a:cxnSpLocks/>
            <a:endCxn id="30" idx="2"/>
          </p:cNvCxnSpPr>
          <p:nvPr/>
        </p:nvCxnSpPr>
        <p:spPr bwMode="gray">
          <a:xfrm rot="10800000">
            <a:off x="594071" y="1960028"/>
            <a:ext cx="166832" cy="1421814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 Verbindung 30">
            <a:extLst>
              <a:ext uri="{FF2B5EF4-FFF2-40B4-BE49-F238E27FC236}">
                <a16:creationId xmlns:a16="http://schemas.microsoft.com/office/drawing/2014/main" id="{50F67730-D60C-684A-D86B-A7CBBA237845}"/>
              </a:ext>
            </a:extLst>
          </p:cNvPr>
          <p:cNvCxnSpPr>
            <a:cxnSpLocks/>
            <a:endCxn id="30" idx="2"/>
          </p:cNvCxnSpPr>
          <p:nvPr/>
        </p:nvCxnSpPr>
        <p:spPr bwMode="gray">
          <a:xfrm rot="10800000">
            <a:off x="594071" y="1960028"/>
            <a:ext cx="166832" cy="2320332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35">
            <a:extLst>
              <a:ext uri="{FF2B5EF4-FFF2-40B4-BE49-F238E27FC236}">
                <a16:creationId xmlns:a16="http://schemas.microsoft.com/office/drawing/2014/main" id="{B6BF596F-FCA8-E45D-828D-850205EEFEF8}"/>
              </a:ext>
            </a:extLst>
          </p:cNvPr>
          <p:cNvCxnSpPr>
            <a:cxnSpLocks/>
            <a:stCxn id="33" idx="2"/>
          </p:cNvCxnSpPr>
          <p:nvPr/>
        </p:nvCxnSpPr>
        <p:spPr bwMode="gray">
          <a:xfrm rot="16200000" flipH="1">
            <a:off x="8240689" y="2587518"/>
            <a:ext cx="1421814" cy="166833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winkelte Verbindung 36">
            <a:extLst>
              <a:ext uri="{FF2B5EF4-FFF2-40B4-BE49-F238E27FC236}">
                <a16:creationId xmlns:a16="http://schemas.microsoft.com/office/drawing/2014/main" id="{6A94F5A0-75DD-3138-3B46-65015192BC59}"/>
              </a:ext>
            </a:extLst>
          </p:cNvPr>
          <p:cNvCxnSpPr>
            <a:cxnSpLocks/>
            <a:stCxn id="33" idx="2"/>
          </p:cNvCxnSpPr>
          <p:nvPr/>
        </p:nvCxnSpPr>
        <p:spPr bwMode="gray">
          <a:xfrm rot="16200000" flipH="1">
            <a:off x="7791430" y="3036777"/>
            <a:ext cx="2320332" cy="166833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winkelte Verbindung 35">
            <a:extLst>
              <a:ext uri="{FF2B5EF4-FFF2-40B4-BE49-F238E27FC236}">
                <a16:creationId xmlns:a16="http://schemas.microsoft.com/office/drawing/2014/main" id="{A49E5F82-2140-0772-C445-378D58771E5E}"/>
              </a:ext>
            </a:extLst>
          </p:cNvPr>
          <p:cNvCxnSpPr>
            <a:cxnSpLocks/>
            <a:stCxn id="33" idx="2"/>
          </p:cNvCxnSpPr>
          <p:nvPr/>
        </p:nvCxnSpPr>
        <p:spPr bwMode="gray">
          <a:xfrm rot="16200000" flipH="1">
            <a:off x="8689948" y="2138259"/>
            <a:ext cx="523296" cy="166833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2D48A104-F016-A8BF-EFB1-D7AC457BFF8A}"/>
              </a:ext>
            </a:extLst>
          </p:cNvPr>
          <p:cNvSpPr txBox="1">
            <a:spLocks/>
          </p:cNvSpPr>
          <p:nvPr/>
        </p:nvSpPr>
        <p:spPr bwMode="gray">
          <a:xfrm>
            <a:off x="4191189" y="1342891"/>
            <a:ext cx="3838385" cy="617137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marR="0" lvl="1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bg1"/>
                </a:solidFill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solidFill>
                  <a:schemeClr val="tx1"/>
                </a:solidFill>
              </a:rPr>
              <a:t>Key User</a:t>
            </a:r>
          </a:p>
        </p:txBody>
      </p:sp>
      <p:sp>
        <p:nvSpPr>
          <p:cNvPr id="27" name="Rechteck 8">
            <a:extLst>
              <a:ext uri="{FF2B5EF4-FFF2-40B4-BE49-F238E27FC236}">
                <a16:creationId xmlns:a16="http://schemas.microsoft.com/office/drawing/2014/main" id="{EF584310-B3D0-A170-8749-E2071D3D6FA8}"/>
              </a:ext>
            </a:extLst>
          </p:cNvPr>
          <p:cNvSpPr>
            <a:spLocks/>
          </p:cNvSpPr>
          <p:nvPr/>
        </p:nvSpPr>
        <p:spPr>
          <a:xfrm>
            <a:off x="4545042" y="1629802"/>
            <a:ext cx="352916" cy="330226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28" name="Grafik 52">
            <a:extLst>
              <a:ext uri="{FF2B5EF4-FFF2-40B4-BE49-F238E27FC236}">
                <a16:creationId xmlns:a16="http://schemas.microsoft.com/office/drawing/2014/main" id="{8EE53769-58B0-6284-E87D-0E95EE5572A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78107" y="1390434"/>
            <a:ext cx="551467" cy="551467"/>
          </a:xfrm>
          <a:prstGeom prst="rect">
            <a:avLst/>
          </a:prstGeom>
        </p:spPr>
      </p:pic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43F8F1AE-3741-BED7-9012-78089C011312}"/>
              </a:ext>
            </a:extLst>
          </p:cNvPr>
          <p:cNvSpPr txBox="1">
            <a:spLocks/>
          </p:cNvSpPr>
          <p:nvPr/>
        </p:nvSpPr>
        <p:spPr bwMode="gray">
          <a:xfrm>
            <a:off x="407988" y="1342891"/>
            <a:ext cx="3491742" cy="617137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marR="0" lvl="1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bg1"/>
                </a:solidFill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solidFill>
                  <a:schemeClr val="tx1"/>
                </a:solidFill>
              </a:rPr>
              <a:t>User</a:t>
            </a:r>
          </a:p>
        </p:txBody>
      </p:sp>
      <p:sp>
        <p:nvSpPr>
          <p:cNvPr id="30" name="Rechteck 7">
            <a:extLst>
              <a:ext uri="{FF2B5EF4-FFF2-40B4-BE49-F238E27FC236}">
                <a16:creationId xmlns:a16="http://schemas.microsoft.com/office/drawing/2014/main" id="{9A7E8ED8-F76C-DC69-92F9-82FBAFEB7B4B}"/>
              </a:ext>
            </a:extLst>
          </p:cNvPr>
          <p:cNvSpPr>
            <a:spLocks/>
          </p:cNvSpPr>
          <p:nvPr/>
        </p:nvSpPr>
        <p:spPr>
          <a:xfrm>
            <a:off x="407988" y="1611790"/>
            <a:ext cx="372166" cy="348238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31" name="Grafik 53">
            <a:extLst>
              <a:ext uri="{FF2B5EF4-FFF2-40B4-BE49-F238E27FC236}">
                <a16:creationId xmlns:a16="http://schemas.microsoft.com/office/drawing/2014/main" id="{33064F66-1151-6D53-F4D2-0B4F0CC8F77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48263" y="1390435"/>
            <a:ext cx="551467" cy="551467"/>
          </a:xfrm>
          <a:prstGeom prst="rect">
            <a:avLst/>
          </a:prstGeom>
        </p:spPr>
      </p:pic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AB82FB7B-B1F2-6B9A-2CDE-B14BB10828C7}"/>
              </a:ext>
            </a:extLst>
          </p:cNvPr>
          <p:cNvSpPr txBox="1">
            <a:spLocks/>
          </p:cNvSpPr>
          <p:nvPr/>
        </p:nvSpPr>
        <p:spPr bwMode="gray">
          <a:xfrm>
            <a:off x="8321033" y="1342891"/>
            <a:ext cx="3498954" cy="617137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marR="0" lvl="1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bg1"/>
                </a:solidFill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solidFill>
                  <a:schemeClr val="tx1"/>
                </a:solidFill>
              </a:rPr>
              <a:t>Admin</a:t>
            </a:r>
          </a:p>
        </p:txBody>
      </p:sp>
      <p:sp>
        <p:nvSpPr>
          <p:cNvPr id="33" name="Rechteck 9">
            <a:extLst>
              <a:ext uri="{FF2B5EF4-FFF2-40B4-BE49-F238E27FC236}">
                <a16:creationId xmlns:a16="http://schemas.microsoft.com/office/drawing/2014/main" id="{6E2F4414-B0D3-C06B-21AD-CF1209451E94}"/>
              </a:ext>
            </a:extLst>
          </p:cNvPr>
          <p:cNvSpPr>
            <a:spLocks/>
          </p:cNvSpPr>
          <p:nvPr/>
        </p:nvSpPr>
        <p:spPr>
          <a:xfrm>
            <a:off x="8682097" y="1611790"/>
            <a:ext cx="372166" cy="348238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34" name="Grafik 54">
            <a:extLst>
              <a:ext uri="{FF2B5EF4-FFF2-40B4-BE49-F238E27FC236}">
                <a16:creationId xmlns:a16="http://schemas.microsoft.com/office/drawing/2014/main" id="{DA5E486D-646F-8829-2ACE-19B5BEE8D75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68520" y="1375726"/>
            <a:ext cx="551467" cy="551467"/>
          </a:xfrm>
          <a:prstGeom prst="rect">
            <a:avLst/>
          </a:prstGeom>
        </p:spPr>
      </p:pic>
      <p:pic>
        <p:nvPicPr>
          <p:cNvPr id="35" name="Picture 3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10A8582-B418-5E25-D3CB-872C3ECD97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28245" y="2228812"/>
            <a:ext cx="3491742" cy="3313566"/>
          </a:xfrm>
          <a:prstGeom prst="rect">
            <a:avLst/>
          </a:prstGeom>
        </p:spPr>
      </p:pic>
      <p:pic>
        <p:nvPicPr>
          <p:cNvPr id="36" name="Picture 3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F18EFCA-CC3B-FA23-B4D7-1878CCC149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91187" y="2228812"/>
            <a:ext cx="3838385" cy="3313204"/>
          </a:xfrm>
          <a:prstGeom prst="rect">
            <a:avLst/>
          </a:prstGeom>
        </p:spPr>
      </p:pic>
      <p:pic>
        <p:nvPicPr>
          <p:cNvPr id="37" name="Picture 3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30BCF31-7A30-21BF-DE26-3C46F99D77E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0189" y="2228812"/>
            <a:ext cx="3527340" cy="331320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9EAD9E5D-51ED-10B3-88B4-D8DE969C5149}"/>
              </a:ext>
            </a:extLst>
          </p:cNvPr>
          <p:cNvSpPr txBox="1"/>
          <p:nvPr/>
        </p:nvSpPr>
        <p:spPr>
          <a:xfrm>
            <a:off x="5006985" y="6438617"/>
            <a:ext cx="69218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solidFill>
                  <a:schemeClr val="bg1"/>
                </a:solidFill>
              </a:rPr>
              <a:t>*note that we will only elaborate on the admin dashboard in the demo given it includes all functionalities  </a:t>
            </a:r>
            <a:endParaRPr lang="en-BE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6626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7BB161-0169-C0A2-138D-A9957B292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BD5C8CC-59D2-88FE-0684-65E3802DE50F}"/>
              </a:ext>
            </a:extLst>
          </p:cNvPr>
          <p:cNvGrpSpPr/>
          <p:nvPr/>
        </p:nvGrpSpPr>
        <p:grpSpPr>
          <a:xfrm>
            <a:off x="21551" y="2616537"/>
            <a:ext cx="4599728" cy="3989723"/>
            <a:chOff x="4344247" y="2220577"/>
            <a:chExt cx="2794990" cy="2582403"/>
          </a:xfrm>
        </p:grpSpPr>
        <p:pic>
          <p:nvPicPr>
            <p:cNvPr id="5" name="Google Shape;1407;p36">
              <a:extLst>
                <a:ext uri="{FF2B5EF4-FFF2-40B4-BE49-F238E27FC236}">
                  <a16:creationId xmlns:a16="http://schemas.microsoft.com/office/drawing/2014/main" id="{C6C9828A-3E43-BC39-5AA5-3279B0C947F6}"/>
                </a:ext>
              </a:extLst>
            </p:cNvPr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4344247" y="2220577"/>
              <a:ext cx="2794990" cy="258240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Picture Placeholder 2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2D6C2A2C-0CF3-D771-5BA9-C5CD0B72E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t="2503" b="2503"/>
            <a:stretch/>
          </p:blipFill>
          <p:spPr>
            <a:xfrm>
              <a:off x="4673016" y="2437606"/>
              <a:ext cx="2107406" cy="158194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39526A2-B62B-97C5-0793-8232A9691077}"/>
              </a:ext>
            </a:extLst>
          </p:cNvPr>
          <p:cNvGrpSpPr/>
          <p:nvPr/>
        </p:nvGrpSpPr>
        <p:grpSpPr>
          <a:xfrm>
            <a:off x="2501599" y="1377120"/>
            <a:ext cx="5064258" cy="5525865"/>
            <a:chOff x="3079617" y="1579785"/>
            <a:chExt cx="3141795" cy="3817837"/>
          </a:xfrm>
        </p:grpSpPr>
        <p:pic>
          <p:nvPicPr>
            <p:cNvPr id="8" name="Google Shape;1366;p35">
              <a:extLst>
                <a:ext uri="{FF2B5EF4-FFF2-40B4-BE49-F238E27FC236}">
                  <a16:creationId xmlns:a16="http://schemas.microsoft.com/office/drawing/2014/main" id="{537B2C69-B305-66EF-B55D-954B6C2DFE20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079617" y="1579785"/>
              <a:ext cx="3141795" cy="381783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" name="Picture Placeholder 2" descr="A screenshot of a green and white login form&#10;&#10;AI-generated content may be incorrect.">
              <a:extLst>
                <a:ext uri="{FF2B5EF4-FFF2-40B4-BE49-F238E27FC236}">
                  <a16:creationId xmlns:a16="http://schemas.microsoft.com/office/drawing/2014/main" id="{1049A605-6846-08FF-8201-3BEB6D323B1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7120" r="7120"/>
            <a:stretch/>
          </p:blipFill>
          <p:spPr>
            <a:xfrm>
              <a:off x="3986213" y="2021681"/>
              <a:ext cx="1216819" cy="216693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8F404EC-C77B-F4CA-B523-E8969E69D167}"/>
              </a:ext>
            </a:extLst>
          </p:cNvPr>
          <p:cNvGrpSpPr/>
          <p:nvPr/>
        </p:nvGrpSpPr>
        <p:grpSpPr>
          <a:xfrm>
            <a:off x="6204804" y="881179"/>
            <a:ext cx="5456693" cy="5633921"/>
            <a:chOff x="6271479" y="1253095"/>
            <a:chExt cx="3746656" cy="3537940"/>
          </a:xfrm>
        </p:grpSpPr>
        <p:cxnSp>
          <p:nvCxnSpPr>
            <p:cNvPr id="11" name="Google Shape;1480;p38">
              <a:extLst>
                <a:ext uri="{FF2B5EF4-FFF2-40B4-BE49-F238E27FC236}">
                  <a16:creationId xmlns:a16="http://schemas.microsoft.com/office/drawing/2014/main" id="{CEAA4387-511F-F708-957A-C214F5CD7FDE}"/>
                </a:ext>
              </a:extLst>
            </p:cNvPr>
            <p:cNvCxnSpPr>
              <a:cxnSpLocks/>
              <a:stCxn id="13" idx="0"/>
            </p:cNvCxnSpPr>
            <p:nvPr/>
          </p:nvCxnSpPr>
          <p:spPr>
            <a:xfrm flipH="1">
              <a:off x="6271479" y="1442635"/>
              <a:ext cx="775500" cy="272028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" name="Google Shape;1482;p38">
              <a:extLst>
                <a:ext uri="{FF2B5EF4-FFF2-40B4-BE49-F238E27FC236}">
                  <a16:creationId xmlns:a16="http://schemas.microsoft.com/office/drawing/2014/main" id="{0636A1E3-C324-F16A-DB6D-803A34BF2790}"/>
                </a:ext>
              </a:extLst>
            </p:cNvPr>
            <p:cNvCxnSpPr>
              <a:cxnSpLocks/>
              <a:stCxn id="15" idx="63"/>
            </p:cNvCxnSpPr>
            <p:nvPr/>
          </p:nvCxnSpPr>
          <p:spPr>
            <a:xfrm flipH="1">
              <a:off x="6271479" y="2258738"/>
              <a:ext cx="786900" cy="35400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3" name="Google Shape;1481;p38">
              <a:extLst>
                <a:ext uri="{FF2B5EF4-FFF2-40B4-BE49-F238E27FC236}">
                  <a16:creationId xmlns:a16="http://schemas.microsoft.com/office/drawing/2014/main" id="{1E5547E9-1DDE-4421-0E96-4B264B1221F5}"/>
                </a:ext>
              </a:extLst>
            </p:cNvPr>
            <p:cNvSpPr/>
            <p:nvPr/>
          </p:nvSpPr>
          <p:spPr>
            <a:xfrm>
              <a:off x="7046979" y="1253095"/>
              <a:ext cx="379080" cy="379080"/>
            </a:xfrm>
            <a:custGeom>
              <a:avLst/>
              <a:gdLst/>
              <a:ahLst/>
              <a:cxnLst/>
              <a:rect l="l" t="t" r="r" b="b"/>
              <a:pathLst>
                <a:path w="2143140" h="2143138" extrusionOk="0">
                  <a:moveTo>
                    <a:pt x="0" y="1071569"/>
                  </a:moveTo>
                  <a:lnTo>
                    <a:pt x="5165" y="966534"/>
                  </a:lnTo>
                  <a:lnTo>
                    <a:pt x="20585" y="862517"/>
                  </a:lnTo>
                  <a:lnTo>
                    <a:pt x="46142" y="760514"/>
                  </a:lnTo>
                  <a:lnTo>
                    <a:pt x="81568" y="661501"/>
                  </a:lnTo>
                  <a:lnTo>
                    <a:pt x="126531" y="566431"/>
                  </a:lnTo>
                  <a:lnTo>
                    <a:pt x="180592" y="476237"/>
                  </a:lnTo>
                  <a:lnTo>
                    <a:pt x="243236" y="391776"/>
                  </a:lnTo>
                  <a:lnTo>
                    <a:pt x="313856" y="313855"/>
                  </a:lnTo>
                  <a:lnTo>
                    <a:pt x="391777" y="243235"/>
                  </a:lnTo>
                  <a:lnTo>
                    <a:pt x="476238" y="180591"/>
                  </a:lnTo>
                  <a:lnTo>
                    <a:pt x="566432" y="126531"/>
                  </a:lnTo>
                  <a:lnTo>
                    <a:pt x="661502" y="81568"/>
                  </a:lnTo>
                  <a:lnTo>
                    <a:pt x="760515" y="46142"/>
                  </a:lnTo>
                  <a:lnTo>
                    <a:pt x="862517" y="20585"/>
                  </a:lnTo>
                  <a:lnTo>
                    <a:pt x="966535" y="5165"/>
                  </a:lnTo>
                  <a:lnTo>
                    <a:pt x="1071570" y="0"/>
                  </a:lnTo>
                  <a:lnTo>
                    <a:pt x="1176605" y="5165"/>
                  </a:lnTo>
                  <a:lnTo>
                    <a:pt x="1280623" y="20585"/>
                  </a:lnTo>
                  <a:lnTo>
                    <a:pt x="1382625" y="46142"/>
                  </a:lnTo>
                  <a:lnTo>
                    <a:pt x="1481638" y="81568"/>
                  </a:lnTo>
                  <a:lnTo>
                    <a:pt x="1576708" y="126531"/>
                  </a:lnTo>
                  <a:lnTo>
                    <a:pt x="1666902" y="180591"/>
                  </a:lnTo>
                  <a:lnTo>
                    <a:pt x="1751363" y="243235"/>
                  </a:lnTo>
                  <a:lnTo>
                    <a:pt x="1829284" y="313855"/>
                  </a:lnTo>
                  <a:lnTo>
                    <a:pt x="1899904" y="391776"/>
                  </a:lnTo>
                  <a:lnTo>
                    <a:pt x="1962548" y="476237"/>
                  </a:lnTo>
                  <a:lnTo>
                    <a:pt x="2016609" y="566431"/>
                  </a:lnTo>
                  <a:lnTo>
                    <a:pt x="2061572" y="661501"/>
                  </a:lnTo>
                  <a:lnTo>
                    <a:pt x="2096998" y="760514"/>
                  </a:lnTo>
                  <a:lnTo>
                    <a:pt x="2122555" y="862517"/>
                  </a:lnTo>
                  <a:lnTo>
                    <a:pt x="2137975" y="966534"/>
                  </a:lnTo>
                  <a:lnTo>
                    <a:pt x="2143140" y="1071569"/>
                  </a:lnTo>
                  <a:lnTo>
                    <a:pt x="2137975" y="1176604"/>
                  </a:lnTo>
                  <a:lnTo>
                    <a:pt x="2122555" y="1280621"/>
                  </a:lnTo>
                  <a:lnTo>
                    <a:pt x="2096998" y="1382624"/>
                  </a:lnTo>
                  <a:lnTo>
                    <a:pt x="2061572" y="1481637"/>
                  </a:lnTo>
                  <a:lnTo>
                    <a:pt x="2016609" y="1576707"/>
                  </a:lnTo>
                  <a:lnTo>
                    <a:pt x="1962548" y="1666901"/>
                  </a:lnTo>
                  <a:lnTo>
                    <a:pt x="1899904" y="1751362"/>
                  </a:lnTo>
                  <a:lnTo>
                    <a:pt x="1829284" y="1829283"/>
                  </a:lnTo>
                  <a:lnTo>
                    <a:pt x="1751363" y="1899903"/>
                  </a:lnTo>
                  <a:lnTo>
                    <a:pt x="1666902" y="1962547"/>
                  </a:lnTo>
                  <a:lnTo>
                    <a:pt x="1576708" y="2016607"/>
                  </a:lnTo>
                  <a:lnTo>
                    <a:pt x="1481638" y="2061570"/>
                  </a:lnTo>
                  <a:lnTo>
                    <a:pt x="1382625" y="2096996"/>
                  </a:lnTo>
                  <a:lnTo>
                    <a:pt x="1280623" y="2122553"/>
                  </a:lnTo>
                  <a:lnTo>
                    <a:pt x="1176605" y="2137973"/>
                  </a:lnTo>
                  <a:lnTo>
                    <a:pt x="1071570" y="2143138"/>
                  </a:lnTo>
                  <a:lnTo>
                    <a:pt x="966535" y="2137973"/>
                  </a:lnTo>
                  <a:lnTo>
                    <a:pt x="862517" y="2122553"/>
                  </a:lnTo>
                  <a:lnTo>
                    <a:pt x="760515" y="2096996"/>
                  </a:lnTo>
                  <a:lnTo>
                    <a:pt x="661502" y="2061570"/>
                  </a:lnTo>
                  <a:lnTo>
                    <a:pt x="566432" y="2016607"/>
                  </a:lnTo>
                  <a:lnTo>
                    <a:pt x="476238" y="1962547"/>
                  </a:lnTo>
                  <a:lnTo>
                    <a:pt x="391777" y="1899903"/>
                  </a:lnTo>
                  <a:lnTo>
                    <a:pt x="313856" y="1829283"/>
                  </a:lnTo>
                  <a:lnTo>
                    <a:pt x="243236" y="1751362"/>
                  </a:lnTo>
                  <a:lnTo>
                    <a:pt x="180592" y="1666901"/>
                  </a:lnTo>
                  <a:lnTo>
                    <a:pt x="126531" y="1576707"/>
                  </a:lnTo>
                  <a:lnTo>
                    <a:pt x="81568" y="1481637"/>
                  </a:lnTo>
                  <a:lnTo>
                    <a:pt x="46142" y="1382624"/>
                  </a:lnTo>
                  <a:lnTo>
                    <a:pt x="20585" y="1280621"/>
                  </a:lnTo>
                  <a:lnTo>
                    <a:pt x="5165" y="1176604"/>
                  </a:lnTo>
                  <a:lnTo>
                    <a:pt x="0" y="107156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4" name="Google Shape;1488;p38">
              <a:extLst>
                <a:ext uri="{FF2B5EF4-FFF2-40B4-BE49-F238E27FC236}">
                  <a16:creationId xmlns:a16="http://schemas.microsoft.com/office/drawing/2014/main" id="{9CD22745-64A8-C046-676C-D7A8134EAACC}"/>
                </a:ext>
              </a:extLst>
            </p:cNvPr>
            <p:cNvGrpSpPr/>
            <p:nvPr/>
          </p:nvGrpSpPr>
          <p:grpSpPr>
            <a:xfrm>
              <a:off x="7692446" y="1261273"/>
              <a:ext cx="2325689" cy="503731"/>
              <a:chOff x="5740817" y="1546769"/>
              <a:chExt cx="2325689" cy="503731"/>
            </a:xfrm>
          </p:grpSpPr>
          <p:sp>
            <p:nvSpPr>
              <p:cNvPr id="21" name="Google Shape;1489;p38">
                <a:extLst>
                  <a:ext uri="{FF2B5EF4-FFF2-40B4-BE49-F238E27FC236}">
                    <a16:creationId xmlns:a16="http://schemas.microsoft.com/office/drawing/2014/main" id="{BC4240F0-8775-FD4F-55FD-41C36D3F4B30}"/>
                  </a:ext>
                </a:extLst>
              </p:cNvPr>
              <p:cNvSpPr txBox="1"/>
              <p:nvPr/>
            </p:nvSpPr>
            <p:spPr>
              <a:xfrm>
                <a:off x="5740817" y="1710336"/>
                <a:ext cx="2325688" cy="3401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0" marR="0" lvl="0" indent="0" algn="just" rtl="0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750"/>
                  <a:buFont typeface="Arial"/>
                  <a:buNone/>
                </a:pPr>
                <a:r>
                  <a:rPr lang="en-GB" sz="1100" dirty="0">
                    <a:solidFill>
                      <a:schemeClr val="accent1"/>
                    </a:solidFill>
                  </a:rPr>
                  <a:t>Designed to be used on phone </a:t>
                </a:r>
                <a:r>
                  <a:rPr lang="en-GB" sz="1100" dirty="0">
                    <a:solidFill>
                      <a:schemeClr val="accent1"/>
                    </a:solidFill>
                    <a:sym typeface="Wingdings" panose="05000000000000000000" pitchFamily="2" charset="2"/>
                  </a:rPr>
                  <a:t> for sales workers (users)</a:t>
                </a:r>
                <a:endParaRPr sz="1100" dirty="0">
                  <a:solidFill>
                    <a:schemeClr val="accent1"/>
                  </a:solidFill>
                  <a:sym typeface="Arial"/>
                </a:endParaRPr>
              </a:p>
            </p:txBody>
          </p:sp>
          <p:sp>
            <p:nvSpPr>
              <p:cNvPr id="22" name="Google Shape;1490;p38">
                <a:extLst>
                  <a:ext uri="{FF2B5EF4-FFF2-40B4-BE49-F238E27FC236}">
                    <a16:creationId xmlns:a16="http://schemas.microsoft.com/office/drawing/2014/main" id="{1F9C5962-8A06-7C1A-D173-6C9E16C78CC4}"/>
                  </a:ext>
                </a:extLst>
              </p:cNvPr>
              <p:cNvSpPr txBox="1"/>
              <p:nvPr/>
            </p:nvSpPr>
            <p:spPr>
              <a:xfrm>
                <a:off x="5740818" y="1546769"/>
                <a:ext cx="2325688" cy="13529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US" sz="1400" b="1" i="0" u="none" strike="noStrike" cap="none" dirty="0">
                    <a:solidFill>
                      <a:schemeClr val="accent1"/>
                    </a:solidFill>
                    <a:latin typeface="Lato"/>
                    <a:ea typeface="Lato"/>
                    <a:cs typeface="Lato"/>
                    <a:sym typeface="Lato"/>
                  </a:rPr>
                  <a:t>BOOTSTRAP</a:t>
                </a:r>
                <a:endParaRPr sz="1400" b="0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5" name="Google Shape;1483;p38">
              <a:extLst>
                <a:ext uri="{FF2B5EF4-FFF2-40B4-BE49-F238E27FC236}">
                  <a16:creationId xmlns:a16="http://schemas.microsoft.com/office/drawing/2014/main" id="{C6527A5C-52FF-21D3-584D-A0C1F48EA6C8}"/>
                </a:ext>
              </a:extLst>
            </p:cNvPr>
            <p:cNvSpPr/>
            <p:nvPr/>
          </p:nvSpPr>
          <p:spPr>
            <a:xfrm>
              <a:off x="7057465" y="2050619"/>
              <a:ext cx="379080" cy="379080"/>
            </a:xfrm>
            <a:custGeom>
              <a:avLst/>
              <a:gdLst/>
              <a:ahLst/>
              <a:cxnLst/>
              <a:rect l="l" t="t" r="r" b="b"/>
              <a:pathLst>
                <a:path w="2143140" h="2143138" extrusionOk="0">
                  <a:moveTo>
                    <a:pt x="0" y="1071569"/>
                  </a:moveTo>
                  <a:lnTo>
                    <a:pt x="5165" y="966534"/>
                  </a:lnTo>
                  <a:lnTo>
                    <a:pt x="20585" y="862517"/>
                  </a:lnTo>
                  <a:lnTo>
                    <a:pt x="46142" y="760514"/>
                  </a:lnTo>
                  <a:lnTo>
                    <a:pt x="81568" y="661501"/>
                  </a:lnTo>
                  <a:lnTo>
                    <a:pt x="126531" y="566431"/>
                  </a:lnTo>
                  <a:lnTo>
                    <a:pt x="180592" y="476237"/>
                  </a:lnTo>
                  <a:lnTo>
                    <a:pt x="243236" y="391776"/>
                  </a:lnTo>
                  <a:lnTo>
                    <a:pt x="313856" y="313855"/>
                  </a:lnTo>
                  <a:lnTo>
                    <a:pt x="391777" y="243235"/>
                  </a:lnTo>
                  <a:lnTo>
                    <a:pt x="476238" y="180591"/>
                  </a:lnTo>
                  <a:lnTo>
                    <a:pt x="566432" y="126531"/>
                  </a:lnTo>
                  <a:lnTo>
                    <a:pt x="661502" y="81568"/>
                  </a:lnTo>
                  <a:lnTo>
                    <a:pt x="760515" y="46142"/>
                  </a:lnTo>
                  <a:lnTo>
                    <a:pt x="862517" y="20585"/>
                  </a:lnTo>
                  <a:lnTo>
                    <a:pt x="966535" y="5165"/>
                  </a:lnTo>
                  <a:lnTo>
                    <a:pt x="1071570" y="0"/>
                  </a:lnTo>
                  <a:lnTo>
                    <a:pt x="1176605" y="5165"/>
                  </a:lnTo>
                  <a:lnTo>
                    <a:pt x="1280623" y="20585"/>
                  </a:lnTo>
                  <a:lnTo>
                    <a:pt x="1382625" y="46142"/>
                  </a:lnTo>
                  <a:lnTo>
                    <a:pt x="1481638" y="81568"/>
                  </a:lnTo>
                  <a:lnTo>
                    <a:pt x="1576708" y="126531"/>
                  </a:lnTo>
                  <a:lnTo>
                    <a:pt x="1666902" y="180591"/>
                  </a:lnTo>
                  <a:lnTo>
                    <a:pt x="1751363" y="243235"/>
                  </a:lnTo>
                  <a:lnTo>
                    <a:pt x="1829284" y="313855"/>
                  </a:lnTo>
                  <a:lnTo>
                    <a:pt x="1899904" y="391776"/>
                  </a:lnTo>
                  <a:lnTo>
                    <a:pt x="1962548" y="476237"/>
                  </a:lnTo>
                  <a:lnTo>
                    <a:pt x="2016609" y="566431"/>
                  </a:lnTo>
                  <a:lnTo>
                    <a:pt x="2061572" y="661501"/>
                  </a:lnTo>
                  <a:lnTo>
                    <a:pt x="2096998" y="760514"/>
                  </a:lnTo>
                  <a:lnTo>
                    <a:pt x="2122555" y="862517"/>
                  </a:lnTo>
                  <a:lnTo>
                    <a:pt x="2137975" y="966534"/>
                  </a:lnTo>
                  <a:lnTo>
                    <a:pt x="2143140" y="1071569"/>
                  </a:lnTo>
                  <a:lnTo>
                    <a:pt x="2137975" y="1176604"/>
                  </a:lnTo>
                  <a:lnTo>
                    <a:pt x="2122555" y="1280621"/>
                  </a:lnTo>
                  <a:lnTo>
                    <a:pt x="2096998" y="1382624"/>
                  </a:lnTo>
                  <a:lnTo>
                    <a:pt x="2061572" y="1481637"/>
                  </a:lnTo>
                  <a:lnTo>
                    <a:pt x="2016609" y="1576707"/>
                  </a:lnTo>
                  <a:lnTo>
                    <a:pt x="1962548" y="1666901"/>
                  </a:lnTo>
                  <a:lnTo>
                    <a:pt x="1899904" y="1751362"/>
                  </a:lnTo>
                  <a:lnTo>
                    <a:pt x="1829284" y="1829283"/>
                  </a:lnTo>
                  <a:lnTo>
                    <a:pt x="1751363" y="1899903"/>
                  </a:lnTo>
                  <a:lnTo>
                    <a:pt x="1666902" y="1962547"/>
                  </a:lnTo>
                  <a:lnTo>
                    <a:pt x="1576708" y="2016607"/>
                  </a:lnTo>
                  <a:lnTo>
                    <a:pt x="1481638" y="2061570"/>
                  </a:lnTo>
                  <a:lnTo>
                    <a:pt x="1382625" y="2096996"/>
                  </a:lnTo>
                  <a:lnTo>
                    <a:pt x="1280623" y="2122553"/>
                  </a:lnTo>
                  <a:lnTo>
                    <a:pt x="1176605" y="2137973"/>
                  </a:lnTo>
                  <a:lnTo>
                    <a:pt x="1071570" y="2143138"/>
                  </a:lnTo>
                  <a:lnTo>
                    <a:pt x="966535" y="2137973"/>
                  </a:lnTo>
                  <a:lnTo>
                    <a:pt x="862517" y="2122553"/>
                  </a:lnTo>
                  <a:lnTo>
                    <a:pt x="760515" y="2096996"/>
                  </a:lnTo>
                  <a:lnTo>
                    <a:pt x="661502" y="2061570"/>
                  </a:lnTo>
                  <a:lnTo>
                    <a:pt x="566432" y="2016607"/>
                  </a:lnTo>
                  <a:lnTo>
                    <a:pt x="476238" y="1962547"/>
                  </a:lnTo>
                  <a:lnTo>
                    <a:pt x="391777" y="1899903"/>
                  </a:lnTo>
                  <a:lnTo>
                    <a:pt x="313856" y="1829283"/>
                  </a:lnTo>
                  <a:lnTo>
                    <a:pt x="243236" y="1751362"/>
                  </a:lnTo>
                  <a:lnTo>
                    <a:pt x="180592" y="1666901"/>
                  </a:lnTo>
                  <a:lnTo>
                    <a:pt x="126531" y="1576707"/>
                  </a:lnTo>
                  <a:lnTo>
                    <a:pt x="81568" y="1481637"/>
                  </a:lnTo>
                  <a:lnTo>
                    <a:pt x="46142" y="1382624"/>
                  </a:lnTo>
                  <a:lnTo>
                    <a:pt x="20585" y="1280621"/>
                  </a:lnTo>
                  <a:lnTo>
                    <a:pt x="5165" y="1176604"/>
                  </a:lnTo>
                  <a:lnTo>
                    <a:pt x="0" y="107156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350"/>
              </a:pPr>
              <a:endParaRPr sz="135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" name="Google Shape;1493;p38">
              <a:extLst>
                <a:ext uri="{FF2B5EF4-FFF2-40B4-BE49-F238E27FC236}">
                  <a16:creationId xmlns:a16="http://schemas.microsoft.com/office/drawing/2014/main" id="{CF8B6DFE-5BD8-948D-2C25-8692AD946140}"/>
                </a:ext>
              </a:extLst>
            </p:cNvPr>
            <p:cNvGrpSpPr/>
            <p:nvPr/>
          </p:nvGrpSpPr>
          <p:grpSpPr>
            <a:xfrm>
              <a:off x="7692447" y="2076240"/>
              <a:ext cx="2325688" cy="2714795"/>
              <a:chOff x="5904780" y="2298167"/>
              <a:chExt cx="2325688" cy="2714795"/>
            </a:xfrm>
          </p:grpSpPr>
          <p:sp>
            <p:nvSpPr>
              <p:cNvPr id="19" name="Google Shape;1494;p38">
                <a:extLst>
                  <a:ext uri="{FF2B5EF4-FFF2-40B4-BE49-F238E27FC236}">
                    <a16:creationId xmlns:a16="http://schemas.microsoft.com/office/drawing/2014/main" id="{E4E63707-F8F6-4E77-8B5F-8730C725428E}"/>
                  </a:ext>
                </a:extLst>
              </p:cNvPr>
              <p:cNvSpPr txBox="1"/>
              <p:nvPr/>
            </p:nvSpPr>
            <p:spPr>
              <a:xfrm>
                <a:off x="5904780" y="2461734"/>
                <a:ext cx="2325688" cy="25512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0" marR="0" lvl="0" indent="0" algn="just" rtl="0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750"/>
                  <a:buFont typeface="Arial"/>
                  <a:buNone/>
                </a:pPr>
                <a:r>
                  <a:rPr lang="en-US" sz="1100" dirty="0">
                    <a:solidFill>
                      <a:schemeClr val="accent1"/>
                    </a:solidFill>
                    <a:sym typeface="Lato"/>
                  </a:rPr>
                  <a:t>All production companies have quality issues. </a:t>
                </a:r>
                <a:r>
                  <a:rPr lang="en-US" sz="1100" b="1" dirty="0">
                    <a:solidFill>
                      <a:schemeClr val="accent1"/>
                    </a:solidFill>
                    <a:sym typeface="Lato"/>
                  </a:rPr>
                  <a:t>Either complaints are internal or external</a:t>
                </a:r>
                <a:r>
                  <a:rPr lang="en-US" sz="1100" dirty="0">
                    <a:solidFill>
                      <a:schemeClr val="accent1"/>
                    </a:solidFill>
                    <a:sym typeface="Lato"/>
                  </a:rPr>
                  <a:t>, a system keeping and tracking their data and progression is essential.</a:t>
                </a:r>
              </a:p>
              <a:p>
                <a:pPr marL="0" marR="0" lvl="0" indent="0" algn="just" rtl="0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750"/>
                  <a:buFont typeface="Arial"/>
                  <a:buNone/>
                </a:pPr>
                <a:endParaRPr lang="en-US" sz="1100" dirty="0">
                  <a:solidFill>
                    <a:schemeClr val="accent1"/>
                  </a:solidFill>
                  <a:sym typeface="Lato"/>
                </a:endParaRPr>
              </a:p>
              <a:p>
                <a:pPr marL="0" marR="0" lvl="0" indent="0" algn="just" rtl="0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750"/>
                  <a:buFont typeface="Arial"/>
                  <a:buNone/>
                </a:pPr>
                <a:r>
                  <a:rPr lang="en-US" sz="1100" dirty="0">
                    <a:solidFill>
                      <a:schemeClr val="accent1"/>
                    </a:solidFill>
                    <a:sym typeface="Lato"/>
                  </a:rPr>
                  <a:t>The </a:t>
                </a:r>
                <a:r>
                  <a:rPr lang="en-US" sz="1100" b="1" dirty="0">
                    <a:solidFill>
                      <a:schemeClr val="accent1"/>
                    </a:solidFill>
                    <a:sym typeface="Lato"/>
                  </a:rPr>
                  <a:t>“</a:t>
                </a:r>
                <a:r>
                  <a:rPr lang="en-US" sz="1100" b="1" dirty="0" err="1">
                    <a:solidFill>
                      <a:schemeClr val="accent1"/>
                    </a:solidFill>
                    <a:sym typeface="Lato"/>
                  </a:rPr>
                  <a:t>businessunit</a:t>
                </a:r>
                <a:r>
                  <a:rPr lang="en-US" sz="1100" b="1" dirty="0">
                    <a:solidFill>
                      <a:schemeClr val="accent1"/>
                    </a:solidFill>
                    <a:sym typeface="Lato"/>
                  </a:rPr>
                  <a:t>-system” </a:t>
                </a:r>
                <a:r>
                  <a:rPr lang="en-US" sz="1100" dirty="0">
                    <a:solidFill>
                      <a:schemeClr val="accent1"/>
                    </a:solidFill>
                    <a:sym typeface="Lato"/>
                  </a:rPr>
                  <a:t>built into our application is very versatile. A group of corporations can share their data and workers within a platform, a single corporation can have multiple branches, or you can only add one unit and use it as a stand-alone company.</a:t>
                </a:r>
              </a:p>
              <a:p>
                <a:pPr marL="0" marR="0" lvl="0" indent="0" algn="just" rtl="0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750"/>
                  <a:buFont typeface="Arial"/>
                  <a:buNone/>
                </a:pPr>
                <a:endParaRPr lang="en-US" sz="1100" dirty="0">
                  <a:solidFill>
                    <a:schemeClr val="accent1"/>
                  </a:solidFill>
                  <a:sym typeface="Lato"/>
                </a:endParaRPr>
              </a:p>
              <a:p>
                <a:pPr marL="0" marR="0" lvl="0" indent="0" algn="just" rtl="0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750"/>
                  <a:buFont typeface="Arial"/>
                  <a:buNone/>
                </a:pPr>
                <a:r>
                  <a:rPr lang="en-US" sz="1100" dirty="0">
                    <a:solidFill>
                      <a:schemeClr val="accent1"/>
                    </a:solidFill>
                    <a:sym typeface="Lato"/>
                  </a:rPr>
                  <a:t>Vanca Group is also looking to scale this website to their entities in the Netherlands. (Short-term scalability)</a:t>
                </a:r>
              </a:p>
            </p:txBody>
          </p:sp>
          <p:sp>
            <p:nvSpPr>
              <p:cNvPr id="20" name="Google Shape;1495;p38">
                <a:extLst>
                  <a:ext uri="{FF2B5EF4-FFF2-40B4-BE49-F238E27FC236}">
                    <a16:creationId xmlns:a16="http://schemas.microsoft.com/office/drawing/2014/main" id="{A2D51168-5373-2F81-A0CC-7756579402C1}"/>
                  </a:ext>
                </a:extLst>
              </p:cNvPr>
              <p:cNvSpPr txBox="1"/>
              <p:nvPr/>
            </p:nvSpPr>
            <p:spPr>
              <a:xfrm>
                <a:off x="5904780" y="2298167"/>
                <a:ext cx="2325688" cy="13529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900"/>
                  <a:buFont typeface="Arial"/>
                  <a:buNone/>
                </a:pPr>
                <a:r>
                  <a:rPr lang="en-US" sz="1400" b="1" dirty="0">
                    <a:solidFill>
                      <a:schemeClr val="accent1"/>
                    </a:solidFill>
                    <a:latin typeface="Lato"/>
                    <a:ea typeface="Lato"/>
                    <a:cs typeface="Lato"/>
                    <a:sym typeface="Lato"/>
                  </a:rPr>
                  <a:t>SCALABLE</a:t>
                </a:r>
                <a:endParaRPr sz="1400" b="0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17" name="Graphic 16" descr="USB outline">
              <a:extLst>
                <a:ext uri="{FF2B5EF4-FFF2-40B4-BE49-F238E27FC236}">
                  <a16:creationId xmlns:a16="http://schemas.microsoft.com/office/drawing/2014/main" id="{992793FB-2E80-F432-A5C1-282EFCED2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098455" y="1292807"/>
              <a:ext cx="297099" cy="297099"/>
            </a:xfrm>
            <a:prstGeom prst="rect">
              <a:avLst/>
            </a:prstGeom>
          </p:spPr>
        </p:pic>
        <p:pic>
          <p:nvPicPr>
            <p:cNvPr id="18" name="Graphic 17" descr="Upward trend outline">
              <a:extLst>
                <a:ext uri="{FF2B5EF4-FFF2-40B4-BE49-F238E27FC236}">
                  <a16:creationId xmlns:a16="http://schemas.microsoft.com/office/drawing/2014/main" id="{D3C2A307-2ACF-A2DB-40EB-E719EBC45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098455" y="2094065"/>
              <a:ext cx="291484" cy="2914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7188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bstractShapeImpact2">
  <a:themeElements>
    <a:clrScheme name="Custom 5">
      <a:dk1>
        <a:srgbClr val="FFFFFF"/>
      </a:dk1>
      <a:lt1>
        <a:srgbClr val="000000"/>
      </a:lt1>
      <a:dk2>
        <a:srgbClr val="FFFFFF"/>
      </a:dk2>
      <a:lt2>
        <a:srgbClr val="00642D"/>
      </a:lt2>
      <a:accent1>
        <a:srgbClr val="1E3F34"/>
      </a:accent1>
      <a:accent2>
        <a:srgbClr val="00B050"/>
      </a:accent2>
      <a:accent3>
        <a:srgbClr val="E2F0E3"/>
      </a:accent3>
      <a:accent4>
        <a:srgbClr val="2C7733"/>
      </a:accent4>
      <a:accent5>
        <a:srgbClr val="F2F2F2"/>
      </a:accent5>
      <a:accent6>
        <a:srgbClr val="00B050"/>
      </a:accent6>
      <a:hlink>
        <a:srgbClr val="E2F0E3"/>
      </a:hlink>
      <a:folHlink>
        <a:srgbClr val="00B050"/>
      </a:folHlink>
    </a:clrScheme>
    <a:fontScheme name="Neue Haas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bstract-shapes_Brand-Proposal_win32_SD_V8" id="{FDEACBDA-4C03-49D9-AD64-CA094C8C4D96}" vid="{CADBDCF1-D7E0-430A-A5E9-74FF6732C4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30" ma:contentTypeDescription="Create a new document." ma:contentTypeScope="" ma:versionID="cec0622158e8f13124e9e8fd4de31bd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3b52f30ab005d15df08657af532e6e38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hidden="true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hidden="tru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hidden="true" ma:internalName="Background" ma:readOnly="false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3A9C388-2C06-4AF2-857C-74055069A297}">
  <ds:schemaRefs>
    <ds:schemaRef ds:uri="16c05727-aa75-4e4a-9b5f-8a80a1165891"/>
    <ds:schemaRef ds:uri="230e9df3-be65-4c73-a93b-d1236ebd677e"/>
    <ds:schemaRef ds:uri="71af3243-3dd4-4a8d-8c0d-dd76da1f02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F782DA7-86C0-4A84-A860-11A1E6E3FB6B}">
  <ds:schemaRefs>
    <ds:schemaRef ds:uri="16c05727-aa75-4e4a-9b5f-8a80a1165891"/>
    <ds:schemaRef ds:uri="230e9df3-be65-4c73-a93b-d1236ebd677e"/>
    <ds:schemaRef ds:uri="71af3243-3dd4-4a8d-8c0d-dd76da1f02a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76F8FCD-0A1F-4F6A-8F55-15E9E87E2E4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bstract shapes brand strategy proposal</Template>
  <TotalTime>6</TotalTime>
  <Words>708</Words>
  <Application>Microsoft Office PowerPoint</Application>
  <PresentationFormat>Breedbeeld</PresentationFormat>
  <Paragraphs>96</Paragraphs>
  <Slides>23</Slides>
  <Notes>1</Notes>
  <HiddenSlides>0</HiddenSlides>
  <MMClips>1</MMClips>
  <ScaleCrop>false</ScaleCrop>
  <HeadingPairs>
    <vt:vector size="4" baseType="variant">
      <vt:variant>
        <vt:lpstr>Thema</vt:lpstr>
      </vt:variant>
      <vt:variant>
        <vt:i4>1</vt:i4>
      </vt:variant>
      <vt:variant>
        <vt:lpstr>Diatitels</vt:lpstr>
      </vt:variant>
      <vt:variant>
        <vt:i4>23</vt:i4>
      </vt:variant>
    </vt:vector>
  </HeadingPairs>
  <TitlesOfParts>
    <vt:vector size="24" baseType="lpstr">
      <vt:lpstr>AbstractShapeImpact2</vt:lpstr>
      <vt:lpstr>TreeSolutions  Group 10</vt:lpstr>
      <vt:lpstr>Agenda</vt:lpstr>
      <vt:lpstr>01 About the brand</vt:lpstr>
      <vt:lpstr>Placabois’ problem</vt:lpstr>
      <vt:lpstr>Placabois’ User Stories</vt:lpstr>
      <vt:lpstr>THE DATAMODEL BEHIND OUR SOLUTION</vt:lpstr>
      <vt:lpstr>02 Website</vt:lpstr>
      <vt:lpstr>PowerPoint-presentatie</vt:lpstr>
      <vt:lpstr>PowerPoint-presentatie</vt:lpstr>
      <vt:lpstr>Complex Algorithm: </vt:lpstr>
      <vt:lpstr>Our Code  We took a very structured approach in building our code:   - Divided the static and dynamic template files, also using base templates for both  - Divided our database and logic in different files, with base functions that are recalled to help with resolving issues  -Reused code as much as possible  -Created a separate file for the complex algorithm </vt:lpstr>
      <vt:lpstr>03 Recap</vt:lpstr>
      <vt:lpstr>On top of creating a complaint management system fulfilling Vanca Groups Wishes we also went beyond with the following:    - Feature to track lifetime of every complaint  - Complex complaint auto-assignment  - System for keeping form employees deleting data and information  - Functional system to divide and distribute complaints to different businessunits  - Extensive filtersystem  - And much more</vt:lpstr>
      <vt:lpstr>DEMO</vt:lpstr>
      <vt:lpstr>Q &amp; A session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vorg Sofoyan</dc:creator>
  <cp:lastModifiedBy>Gevorg Sofoyan</cp:lastModifiedBy>
  <cp:revision>132</cp:revision>
  <dcterms:created xsi:type="dcterms:W3CDTF">2025-12-14T20:54:53Z</dcterms:created>
  <dcterms:modified xsi:type="dcterms:W3CDTF">2025-12-19T11:35:59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</Properties>
</file>